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40"/>
  </p:notesMasterIdLst>
  <p:sldIdLst>
    <p:sldId id="315" r:id="rId2"/>
    <p:sldId id="354" r:id="rId3"/>
    <p:sldId id="355" r:id="rId4"/>
    <p:sldId id="317" r:id="rId5"/>
    <p:sldId id="356" r:id="rId6"/>
    <p:sldId id="357" r:id="rId7"/>
    <p:sldId id="318" r:id="rId8"/>
    <p:sldId id="319" r:id="rId9"/>
    <p:sldId id="294" r:id="rId10"/>
    <p:sldId id="295" r:id="rId11"/>
    <p:sldId id="296" r:id="rId12"/>
    <p:sldId id="297" r:id="rId13"/>
    <p:sldId id="299" r:id="rId14"/>
    <p:sldId id="300" r:id="rId15"/>
    <p:sldId id="301" r:id="rId16"/>
    <p:sldId id="302" r:id="rId17"/>
    <p:sldId id="303" r:id="rId18"/>
    <p:sldId id="304" r:id="rId19"/>
    <p:sldId id="305" r:id="rId20"/>
    <p:sldId id="306" r:id="rId21"/>
    <p:sldId id="307" r:id="rId22"/>
    <p:sldId id="309" r:id="rId23"/>
    <p:sldId id="310" r:id="rId24"/>
    <p:sldId id="312" r:id="rId25"/>
    <p:sldId id="313" r:id="rId26"/>
    <p:sldId id="320" r:id="rId27"/>
    <p:sldId id="321" r:id="rId28"/>
    <p:sldId id="341" r:id="rId29"/>
    <p:sldId id="346" r:id="rId30"/>
    <p:sldId id="360" r:id="rId31"/>
    <p:sldId id="361" r:id="rId32"/>
    <p:sldId id="362" r:id="rId33"/>
    <p:sldId id="358" r:id="rId34"/>
    <p:sldId id="359" r:id="rId35"/>
    <p:sldId id="353" r:id="rId36"/>
    <p:sldId id="363" r:id="rId37"/>
    <p:sldId id="347" r:id="rId38"/>
    <p:sldId id="351" r:id="rId3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2519014-2EB0-4F30-B3F1-C66EFCDDD068}">
          <p14:sldIdLst>
            <p14:sldId id="315"/>
            <p14:sldId id="354"/>
            <p14:sldId id="355"/>
            <p14:sldId id="317"/>
            <p14:sldId id="356"/>
            <p14:sldId id="357"/>
            <p14:sldId id="318"/>
            <p14:sldId id="319"/>
            <p14:sldId id="294"/>
            <p14:sldId id="295"/>
            <p14:sldId id="296"/>
            <p14:sldId id="297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  <p14:sldId id="307"/>
            <p14:sldId id="309"/>
            <p14:sldId id="310"/>
            <p14:sldId id="312"/>
            <p14:sldId id="313"/>
            <p14:sldId id="320"/>
            <p14:sldId id="321"/>
            <p14:sldId id="341"/>
            <p14:sldId id="346"/>
            <p14:sldId id="360"/>
            <p14:sldId id="361"/>
            <p14:sldId id="362"/>
            <p14:sldId id="358"/>
            <p14:sldId id="359"/>
            <p14:sldId id="353"/>
            <p14:sldId id="363"/>
            <p14:sldId id="347"/>
            <p14:sldId id="351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516" y="3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17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Jim%20Rugh\Documents\+%20EvalPartners\VOPEs%20survey%202012\EvalPartners%20VOPE%20surveys%20WORKING%20COPY%20(2012.09.03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cat>
            <c:numRef>
              <c:f>'Dates formed'!$A$2:$A$84</c:f>
              <c:numCache>
                <c:formatCode>0</c:formatCode>
                <c:ptCount val="24"/>
                <c:pt idx="0">
                  <c:v>1981</c:v>
                </c:pt>
                <c:pt idx="1">
                  <c:v>1983</c:v>
                </c:pt>
                <c:pt idx="2">
                  <c:v>1986</c:v>
                </c:pt>
                <c:pt idx="3">
                  <c:v>1987</c:v>
                </c:pt>
                <c:pt idx="4">
                  <c:v>1988</c:v>
                </c:pt>
                <c:pt idx="5">
                  <c:v>1992</c:v>
                </c:pt>
                <c:pt idx="6">
                  <c:v>1994</c:v>
                </c:pt>
                <c:pt idx="7">
                  <c:v>1995</c:v>
                </c:pt>
                <c:pt idx="8">
                  <c:v>1996</c:v>
                </c:pt>
                <c:pt idx="9">
                  <c:v>1997</c:v>
                </c:pt>
                <c:pt idx="10">
                  <c:v>1999</c:v>
                </c:pt>
                <c:pt idx="11">
                  <c:v>2000</c:v>
                </c:pt>
                <c:pt idx="12">
                  <c:v>2001</c:v>
                </c:pt>
                <c:pt idx="13">
                  <c:v>2002</c:v>
                </c:pt>
                <c:pt idx="14">
                  <c:v>2003</c:v>
                </c:pt>
                <c:pt idx="15">
                  <c:v>2004</c:v>
                </c:pt>
                <c:pt idx="16">
                  <c:v>2005</c:v>
                </c:pt>
                <c:pt idx="17">
                  <c:v>2006</c:v>
                </c:pt>
                <c:pt idx="18">
                  <c:v>2007</c:v>
                </c:pt>
                <c:pt idx="19">
                  <c:v>2008</c:v>
                </c:pt>
                <c:pt idx="20">
                  <c:v>2009</c:v>
                </c:pt>
                <c:pt idx="21">
                  <c:v>2010</c:v>
                </c:pt>
                <c:pt idx="22">
                  <c:v>2011</c:v>
                </c:pt>
                <c:pt idx="23">
                  <c:v>2012</c:v>
                </c:pt>
              </c:numCache>
            </c:numRef>
          </c:cat>
          <c:val>
            <c:numRef>
              <c:f>'Dates formed'!$E$2:$E$84</c:f>
              <c:numCache>
                <c:formatCode>0</c:formatCod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9</c:v>
                </c:pt>
                <c:pt idx="8">
                  <c:v>10</c:v>
                </c:pt>
                <c:pt idx="9">
                  <c:v>11</c:v>
                </c:pt>
                <c:pt idx="10">
                  <c:v>17</c:v>
                </c:pt>
                <c:pt idx="11">
                  <c:v>20</c:v>
                </c:pt>
                <c:pt idx="12">
                  <c:v>21</c:v>
                </c:pt>
                <c:pt idx="13">
                  <c:v>23</c:v>
                </c:pt>
                <c:pt idx="14">
                  <c:v>26</c:v>
                </c:pt>
                <c:pt idx="15">
                  <c:v>30</c:v>
                </c:pt>
                <c:pt idx="16">
                  <c:v>38</c:v>
                </c:pt>
                <c:pt idx="17">
                  <c:v>45</c:v>
                </c:pt>
                <c:pt idx="18">
                  <c:v>49</c:v>
                </c:pt>
                <c:pt idx="19">
                  <c:v>57</c:v>
                </c:pt>
                <c:pt idx="20">
                  <c:v>65</c:v>
                </c:pt>
                <c:pt idx="21">
                  <c:v>72</c:v>
                </c:pt>
                <c:pt idx="22">
                  <c:v>81</c:v>
                </c:pt>
                <c:pt idx="23">
                  <c:v>8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3373568"/>
        <c:axId val="73375104"/>
      </c:barChart>
      <c:catAx>
        <c:axId val="73373568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73375104"/>
        <c:crosses val="autoZero"/>
        <c:auto val="1"/>
        <c:lblAlgn val="ctr"/>
        <c:lblOffset val="100"/>
        <c:noMultiLvlLbl val="0"/>
      </c:catAx>
      <c:valAx>
        <c:axId val="73375104"/>
        <c:scaling>
          <c:orientation val="minMax"/>
        </c:scaling>
        <c:delete val="0"/>
        <c:axPos val="l"/>
        <c:majorGridlines/>
        <c:numFmt formatCode="0" sourceLinked="1"/>
        <c:majorTickMark val="out"/>
        <c:minorTickMark val="none"/>
        <c:tickLblPos val="nextTo"/>
        <c:crossAx val="7337356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iagrams/_rels/data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image" Target="../media/image8.jpeg"/></Relationships>
</file>

<file path=ppt/diagrams/_rels/data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image" Target="../media/image8.jpeg"/></Relationships>
</file>

<file path=ppt/diagram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9D6DCD8-D5B5-464F-9A75-E4298751A907}" type="doc">
      <dgm:prSet loTypeId="urn:microsoft.com/office/officeart/2005/8/layout/vList6" loCatId="process" qsTypeId="urn:microsoft.com/office/officeart/2005/8/quickstyle/3d3" qsCatId="3D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63433E33-F40B-4854-88E2-1738110D51B3}">
      <dgm:prSet phldrT="[Text]" custT="1"/>
      <dgm:spPr/>
      <dgm:t>
        <a:bodyPr/>
        <a:lstStyle/>
        <a:p>
          <a:r>
            <a:rPr lang="en-US" sz="2000" dirty="0" smtClean="0"/>
            <a:t>Strengthen institutional capacity</a:t>
          </a:r>
          <a:endParaRPr lang="en-US" sz="2000" dirty="0"/>
        </a:p>
      </dgm:t>
    </dgm:pt>
    <dgm:pt modelId="{DF55AD0F-18CC-46C3-B71D-E7AE3254DAF6}" type="parTrans" cxnId="{8E547021-A8A0-4AFA-BDAA-0F043A9778F8}">
      <dgm:prSet/>
      <dgm:spPr/>
      <dgm:t>
        <a:bodyPr/>
        <a:lstStyle/>
        <a:p>
          <a:endParaRPr lang="en-US" sz="2000"/>
        </a:p>
      </dgm:t>
    </dgm:pt>
    <dgm:pt modelId="{B75F52CC-B27D-48B6-969C-6CA0BFD8A312}" type="sibTrans" cxnId="{8E547021-A8A0-4AFA-BDAA-0F043A9778F8}">
      <dgm:prSet/>
      <dgm:spPr/>
      <dgm:t>
        <a:bodyPr/>
        <a:lstStyle/>
        <a:p>
          <a:endParaRPr lang="en-US" sz="2000"/>
        </a:p>
      </dgm:t>
    </dgm:pt>
    <dgm:pt modelId="{DCF527F7-87DB-448B-8D69-7E9DF260374C}">
      <dgm:prSet phldrT="[Text]" custT="1"/>
      <dgm:spPr/>
      <dgm:t>
        <a:bodyPr/>
        <a:lstStyle/>
        <a:p>
          <a:r>
            <a:rPr lang="en-US" sz="2000" dirty="0" smtClean="0"/>
            <a:t>Raise the visibility, role and influence in countries</a:t>
          </a:r>
          <a:endParaRPr lang="en-US" sz="2000" dirty="0"/>
        </a:p>
      </dgm:t>
    </dgm:pt>
    <dgm:pt modelId="{D2D88C2B-2DFE-421C-9695-5620FE0F4624}" type="parTrans" cxnId="{2F4F89F4-BF07-43C5-B52A-231BE89DE180}">
      <dgm:prSet/>
      <dgm:spPr/>
      <dgm:t>
        <a:bodyPr/>
        <a:lstStyle/>
        <a:p>
          <a:endParaRPr lang="en-US" sz="2000"/>
        </a:p>
      </dgm:t>
    </dgm:pt>
    <dgm:pt modelId="{6B50E20A-11F2-453F-9E05-B7A2E6C4F74B}" type="sibTrans" cxnId="{2F4F89F4-BF07-43C5-B52A-231BE89DE180}">
      <dgm:prSet/>
      <dgm:spPr/>
      <dgm:t>
        <a:bodyPr/>
        <a:lstStyle/>
        <a:p>
          <a:endParaRPr lang="en-US" sz="2000"/>
        </a:p>
      </dgm:t>
    </dgm:pt>
    <dgm:pt modelId="{1719FB6E-35B9-4A39-86A8-649DBD0D6C1A}">
      <dgm:prSet custT="1"/>
      <dgm:spPr/>
      <dgm:t>
        <a:bodyPr/>
        <a:lstStyle/>
        <a:p>
          <a:r>
            <a:rPr lang="en-US" sz="2000" dirty="0" smtClean="0"/>
            <a:t>Build evaluation capacity of VOPE members</a:t>
          </a:r>
          <a:endParaRPr lang="en-US" sz="2000" dirty="0"/>
        </a:p>
      </dgm:t>
    </dgm:pt>
    <dgm:pt modelId="{92EE49FB-316C-4A66-995A-F3222B334E70}" type="parTrans" cxnId="{E65E9CF0-EBCD-41E0-A7C6-7E6FFFB1E13E}">
      <dgm:prSet/>
      <dgm:spPr/>
      <dgm:t>
        <a:bodyPr/>
        <a:lstStyle/>
        <a:p>
          <a:endParaRPr lang="en-US" sz="2000"/>
        </a:p>
      </dgm:t>
    </dgm:pt>
    <dgm:pt modelId="{2AB43304-C492-4B46-8F51-07E29E20878E}" type="sibTrans" cxnId="{E65E9CF0-EBCD-41E0-A7C6-7E6FFFB1E13E}">
      <dgm:prSet/>
      <dgm:spPr/>
      <dgm:t>
        <a:bodyPr/>
        <a:lstStyle/>
        <a:p>
          <a:endParaRPr lang="en-US" sz="2000"/>
        </a:p>
      </dgm:t>
    </dgm:pt>
    <dgm:pt modelId="{8E4D1AB6-599B-45EA-89D5-8B8E1160908F}">
      <dgm:prSet custT="1"/>
      <dgm:spPr/>
      <dgm:t>
        <a:bodyPr/>
        <a:lstStyle/>
        <a:p>
          <a:endParaRPr lang="en-US" sz="5400" dirty="0"/>
        </a:p>
      </dgm:t>
    </dgm:pt>
    <dgm:pt modelId="{972A4BD0-C8D2-4BC8-BBB8-3A22348D0176}" type="parTrans" cxnId="{0E9B850A-EFC7-48F8-B350-691CA53D47DC}">
      <dgm:prSet/>
      <dgm:spPr/>
      <dgm:t>
        <a:bodyPr/>
        <a:lstStyle/>
        <a:p>
          <a:endParaRPr lang="en-US" sz="2000"/>
        </a:p>
      </dgm:t>
    </dgm:pt>
    <dgm:pt modelId="{E5456FB3-0016-477C-8634-E9F974C583E0}" type="sibTrans" cxnId="{0E9B850A-EFC7-48F8-B350-691CA53D47DC}">
      <dgm:prSet/>
      <dgm:spPr/>
      <dgm:t>
        <a:bodyPr/>
        <a:lstStyle/>
        <a:p>
          <a:endParaRPr lang="en-US" sz="2000"/>
        </a:p>
      </dgm:t>
    </dgm:pt>
    <dgm:pt modelId="{3682A9AE-875D-42DC-B3CE-2366D989E341}" type="pres">
      <dgm:prSet presAssocID="{59D6DCD8-D5B5-464F-9A75-E4298751A907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280A0571-63AD-4B0E-9B5F-2B86F05747DF}" type="pres">
      <dgm:prSet presAssocID="{63433E33-F40B-4854-88E2-1738110D51B3}" presName="linNode" presStyleCnt="0"/>
      <dgm:spPr/>
    </dgm:pt>
    <dgm:pt modelId="{74F0D50B-EAA8-47F4-98F0-CC53BF611039}" type="pres">
      <dgm:prSet presAssocID="{63433E33-F40B-4854-88E2-1738110D51B3}" presName="parentShp" presStyleLbl="node1" presStyleIdx="0" presStyleCnt="3" custScaleX="125862" custScaleY="111636" custLinFactNeighborY="-58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6ACD94-145E-4703-AD26-7E23C097C207}" type="pres">
      <dgm:prSet presAssocID="{63433E33-F40B-4854-88E2-1738110D51B3}" presName="childShp" presStyleLbl="bgAccFollowNode1" presStyleIdx="0" presStyleCnt="3" custScaleX="540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562FF6-86A3-4E7A-80A0-267F1F0B1CCB}" type="pres">
      <dgm:prSet presAssocID="{B75F52CC-B27D-48B6-969C-6CA0BFD8A312}" presName="spacing" presStyleCnt="0"/>
      <dgm:spPr/>
    </dgm:pt>
    <dgm:pt modelId="{435B6C2C-500F-458D-B28F-D049BE119D0D}" type="pres">
      <dgm:prSet presAssocID="{DCF527F7-87DB-448B-8D69-7E9DF260374C}" presName="linNode" presStyleCnt="0"/>
      <dgm:spPr/>
    </dgm:pt>
    <dgm:pt modelId="{31F04F53-00FA-4AB7-9796-4445314693E1}" type="pres">
      <dgm:prSet presAssocID="{DCF527F7-87DB-448B-8D69-7E9DF260374C}" presName="parentShp" presStyleLbl="node1" presStyleIdx="1" presStyleCnt="3" custScaleX="125862" custScaleY="111636" custLinFactNeighborY="-58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992BC6-B107-46B8-BCB8-14553CC10C80}" type="pres">
      <dgm:prSet presAssocID="{DCF527F7-87DB-448B-8D69-7E9DF260374C}" presName="childShp" presStyleLbl="bgAccFollowNode1" presStyleIdx="1" presStyleCnt="3" custScaleX="540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0DD97F-A798-46FC-A070-B5D59D985324}" type="pres">
      <dgm:prSet presAssocID="{6B50E20A-11F2-453F-9E05-B7A2E6C4F74B}" presName="spacing" presStyleCnt="0"/>
      <dgm:spPr/>
    </dgm:pt>
    <dgm:pt modelId="{FA644A9B-E81B-409D-BF16-CA34645F0914}" type="pres">
      <dgm:prSet presAssocID="{1719FB6E-35B9-4A39-86A8-649DBD0D6C1A}" presName="linNode" presStyleCnt="0"/>
      <dgm:spPr/>
    </dgm:pt>
    <dgm:pt modelId="{1AA1C11C-A40F-4B93-AF7D-BF2CF1320BA8}" type="pres">
      <dgm:prSet presAssocID="{1719FB6E-35B9-4A39-86A8-649DBD0D6C1A}" presName="parentShp" presStyleLbl="node1" presStyleIdx="2" presStyleCnt="3" custScaleX="125862" custScaleY="111636" custLinFactNeighborY="-581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F6F088-5450-41DB-AA42-354D5E22F409}" type="pres">
      <dgm:prSet presAssocID="{1719FB6E-35B9-4A39-86A8-649DBD0D6C1A}" presName="childShp" presStyleLbl="bgAccFollowNode1" presStyleIdx="2" presStyleCnt="3" custScaleX="5402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8A779E4-FCF7-4C54-88A3-12BD843197DD}" type="presOf" srcId="{1719FB6E-35B9-4A39-86A8-649DBD0D6C1A}" destId="{1AA1C11C-A40F-4B93-AF7D-BF2CF1320BA8}" srcOrd="0" destOrd="0" presId="urn:microsoft.com/office/officeart/2005/8/layout/vList6"/>
    <dgm:cxn modelId="{E65E9CF0-EBCD-41E0-A7C6-7E6FFFB1E13E}" srcId="{59D6DCD8-D5B5-464F-9A75-E4298751A907}" destId="{1719FB6E-35B9-4A39-86A8-649DBD0D6C1A}" srcOrd="2" destOrd="0" parTransId="{92EE49FB-316C-4A66-995A-F3222B334E70}" sibTransId="{2AB43304-C492-4B46-8F51-07E29E20878E}"/>
    <dgm:cxn modelId="{93E23F42-3594-4324-AC85-8479C85A4BEB}" type="presOf" srcId="{59D6DCD8-D5B5-464F-9A75-E4298751A907}" destId="{3682A9AE-875D-42DC-B3CE-2366D989E341}" srcOrd="0" destOrd="0" presId="urn:microsoft.com/office/officeart/2005/8/layout/vList6"/>
    <dgm:cxn modelId="{F042CDBB-8FED-4C3F-BD5F-0890C3A658D8}" type="presOf" srcId="{8E4D1AB6-599B-45EA-89D5-8B8E1160908F}" destId="{4EF6F088-5450-41DB-AA42-354D5E22F409}" srcOrd="0" destOrd="0" presId="urn:microsoft.com/office/officeart/2005/8/layout/vList6"/>
    <dgm:cxn modelId="{02FFD2D2-01CC-46DA-B6B2-284DD84980A5}" type="presOf" srcId="{63433E33-F40B-4854-88E2-1738110D51B3}" destId="{74F0D50B-EAA8-47F4-98F0-CC53BF611039}" srcOrd="0" destOrd="0" presId="urn:microsoft.com/office/officeart/2005/8/layout/vList6"/>
    <dgm:cxn modelId="{5AAABBDC-DD0F-4294-9BAF-264D2C0DDBC0}" type="presOf" srcId="{DCF527F7-87DB-448B-8D69-7E9DF260374C}" destId="{31F04F53-00FA-4AB7-9796-4445314693E1}" srcOrd="0" destOrd="0" presId="urn:microsoft.com/office/officeart/2005/8/layout/vList6"/>
    <dgm:cxn modelId="{0E9B850A-EFC7-48F8-B350-691CA53D47DC}" srcId="{1719FB6E-35B9-4A39-86A8-649DBD0D6C1A}" destId="{8E4D1AB6-599B-45EA-89D5-8B8E1160908F}" srcOrd="0" destOrd="0" parTransId="{972A4BD0-C8D2-4BC8-BBB8-3A22348D0176}" sibTransId="{E5456FB3-0016-477C-8634-E9F974C583E0}"/>
    <dgm:cxn modelId="{2F4F89F4-BF07-43C5-B52A-231BE89DE180}" srcId="{59D6DCD8-D5B5-464F-9A75-E4298751A907}" destId="{DCF527F7-87DB-448B-8D69-7E9DF260374C}" srcOrd="1" destOrd="0" parTransId="{D2D88C2B-2DFE-421C-9695-5620FE0F4624}" sibTransId="{6B50E20A-11F2-453F-9E05-B7A2E6C4F74B}"/>
    <dgm:cxn modelId="{8E547021-A8A0-4AFA-BDAA-0F043A9778F8}" srcId="{59D6DCD8-D5B5-464F-9A75-E4298751A907}" destId="{63433E33-F40B-4854-88E2-1738110D51B3}" srcOrd="0" destOrd="0" parTransId="{DF55AD0F-18CC-46C3-B71D-E7AE3254DAF6}" sibTransId="{B75F52CC-B27D-48B6-969C-6CA0BFD8A312}"/>
    <dgm:cxn modelId="{FC0EE01D-1275-4A96-AD38-17500CD6F06C}" type="presParOf" srcId="{3682A9AE-875D-42DC-B3CE-2366D989E341}" destId="{280A0571-63AD-4B0E-9B5F-2B86F05747DF}" srcOrd="0" destOrd="0" presId="urn:microsoft.com/office/officeart/2005/8/layout/vList6"/>
    <dgm:cxn modelId="{3183D6DB-3AE0-4164-905F-687BEFB7B598}" type="presParOf" srcId="{280A0571-63AD-4B0E-9B5F-2B86F05747DF}" destId="{74F0D50B-EAA8-47F4-98F0-CC53BF611039}" srcOrd="0" destOrd="0" presId="urn:microsoft.com/office/officeart/2005/8/layout/vList6"/>
    <dgm:cxn modelId="{DE62CBBE-8BF7-476F-80CD-3E7E2317398F}" type="presParOf" srcId="{280A0571-63AD-4B0E-9B5F-2B86F05747DF}" destId="{E66ACD94-145E-4703-AD26-7E23C097C207}" srcOrd="1" destOrd="0" presId="urn:microsoft.com/office/officeart/2005/8/layout/vList6"/>
    <dgm:cxn modelId="{A124542C-F7D3-41EC-A851-4A294DD8DCA1}" type="presParOf" srcId="{3682A9AE-875D-42DC-B3CE-2366D989E341}" destId="{EE562FF6-86A3-4E7A-80A0-267F1F0B1CCB}" srcOrd="1" destOrd="0" presId="urn:microsoft.com/office/officeart/2005/8/layout/vList6"/>
    <dgm:cxn modelId="{746F1E0A-6275-4F10-B171-1B4522A120CA}" type="presParOf" srcId="{3682A9AE-875D-42DC-B3CE-2366D989E341}" destId="{435B6C2C-500F-458D-B28F-D049BE119D0D}" srcOrd="2" destOrd="0" presId="urn:microsoft.com/office/officeart/2005/8/layout/vList6"/>
    <dgm:cxn modelId="{AD318A72-E299-4CD3-979E-99641E62D11E}" type="presParOf" srcId="{435B6C2C-500F-458D-B28F-D049BE119D0D}" destId="{31F04F53-00FA-4AB7-9796-4445314693E1}" srcOrd="0" destOrd="0" presId="urn:microsoft.com/office/officeart/2005/8/layout/vList6"/>
    <dgm:cxn modelId="{406B7C59-AA03-4B1D-B1D3-9EEDE0BA2FE6}" type="presParOf" srcId="{435B6C2C-500F-458D-B28F-D049BE119D0D}" destId="{94992BC6-B107-46B8-BCB8-14553CC10C80}" srcOrd="1" destOrd="0" presId="urn:microsoft.com/office/officeart/2005/8/layout/vList6"/>
    <dgm:cxn modelId="{65E1915E-DFF0-47CD-8556-651C80496C3D}" type="presParOf" srcId="{3682A9AE-875D-42DC-B3CE-2366D989E341}" destId="{730DD97F-A798-46FC-A070-B5D59D985324}" srcOrd="3" destOrd="0" presId="urn:microsoft.com/office/officeart/2005/8/layout/vList6"/>
    <dgm:cxn modelId="{87E1C5A6-FE60-476A-A16D-65ABBC1A6E44}" type="presParOf" srcId="{3682A9AE-875D-42DC-B3CE-2366D989E341}" destId="{FA644A9B-E81B-409D-BF16-CA34645F0914}" srcOrd="4" destOrd="0" presId="urn:microsoft.com/office/officeart/2005/8/layout/vList6"/>
    <dgm:cxn modelId="{7BAFEDB6-3CB9-46C9-96C6-74F8DC894CB6}" type="presParOf" srcId="{FA644A9B-E81B-409D-BF16-CA34645F0914}" destId="{1AA1C11C-A40F-4B93-AF7D-BF2CF1320BA8}" srcOrd="0" destOrd="0" presId="urn:microsoft.com/office/officeart/2005/8/layout/vList6"/>
    <dgm:cxn modelId="{2F81024A-8B3B-40DF-A809-79253931C700}" type="presParOf" srcId="{FA644A9B-E81B-409D-BF16-CA34645F0914}" destId="{4EF6F088-5450-41DB-AA42-354D5E22F409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0BEE662-AC3A-4B53-B390-0C46A4AF7804}" type="doc">
      <dgm:prSet loTypeId="urn:microsoft.com/office/officeart/2005/8/layout/list1" loCatId="list" qsTypeId="urn:microsoft.com/office/officeart/2005/8/quickstyle/3d6" qsCatId="3D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197E362B-CC8A-4131-BD68-8658D1240C8B}">
      <dgm:prSet phldrT="[Text]"/>
      <dgm:spPr/>
      <dgm:t>
        <a:bodyPr/>
        <a:lstStyle/>
        <a:p>
          <a:r>
            <a:rPr lang="en-US" dirty="0" smtClean="0"/>
            <a:t>Strategic Partnership</a:t>
          </a:r>
          <a:endParaRPr lang="en-US" dirty="0"/>
        </a:p>
      </dgm:t>
    </dgm:pt>
    <dgm:pt modelId="{27E78B6B-350C-41F5-9AF8-72DA5B910C30}" type="parTrans" cxnId="{0F6A315D-EE2D-4BFA-990D-8E6D13879F04}">
      <dgm:prSet/>
      <dgm:spPr/>
      <dgm:t>
        <a:bodyPr/>
        <a:lstStyle/>
        <a:p>
          <a:endParaRPr lang="en-US"/>
        </a:p>
      </dgm:t>
    </dgm:pt>
    <dgm:pt modelId="{5CEB33AA-A23A-4842-8BF6-FE025F9958A6}" type="sibTrans" cxnId="{0F6A315D-EE2D-4BFA-990D-8E6D13879F04}">
      <dgm:prSet/>
      <dgm:spPr/>
      <dgm:t>
        <a:bodyPr/>
        <a:lstStyle/>
        <a:p>
          <a:endParaRPr lang="en-US"/>
        </a:p>
      </dgm:t>
    </dgm:pt>
    <dgm:pt modelId="{9C33D269-7B0F-49C9-B6D5-4031F70A5267}">
      <dgm:prSet phldrT="[Text]"/>
      <dgm:spPr/>
      <dgm:t>
        <a:bodyPr/>
        <a:lstStyle/>
        <a:p>
          <a:r>
            <a:rPr lang="en-US" dirty="0" smtClean="0"/>
            <a:t>Innovation</a:t>
          </a:r>
          <a:endParaRPr lang="en-US" dirty="0"/>
        </a:p>
      </dgm:t>
    </dgm:pt>
    <dgm:pt modelId="{CF51A1EE-408B-435A-BD69-6498EA15193F}" type="parTrans" cxnId="{EFC2B15C-C2F1-484C-83DB-80B09E477A52}">
      <dgm:prSet/>
      <dgm:spPr/>
      <dgm:t>
        <a:bodyPr/>
        <a:lstStyle/>
        <a:p>
          <a:endParaRPr lang="en-US"/>
        </a:p>
      </dgm:t>
    </dgm:pt>
    <dgm:pt modelId="{0C321088-EE00-4543-B14E-A3FF094984E7}" type="sibTrans" cxnId="{EFC2B15C-C2F1-484C-83DB-80B09E477A52}">
      <dgm:prSet/>
      <dgm:spPr/>
      <dgm:t>
        <a:bodyPr/>
        <a:lstStyle/>
        <a:p>
          <a:endParaRPr lang="en-US"/>
        </a:p>
      </dgm:t>
    </dgm:pt>
    <dgm:pt modelId="{0159A9D6-5699-4046-B06F-CF86E04A12C7}">
      <dgm:prSet phldrT="[Text]"/>
      <dgm:spPr/>
      <dgm:t>
        <a:bodyPr/>
        <a:lstStyle/>
        <a:p>
          <a:r>
            <a:rPr lang="en-US" dirty="0" smtClean="0"/>
            <a:t>Inclusion</a:t>
          </a:r>
          <a:endParaRPr lang="en-US" dirty="0"/>
        </a:p>
      </dgm:t>
    </dgm:pt>
    <dgm:pt modelId="{9371E72F-A457-4C2E-A360-E6A841D41662}" type="parTrans" cxnId="{4AFB76F5-6174-435D-B2E3-BD7E0CA0399B}">
      <dgm:prSet/>
      <dgm:spPr/>
      <dgm:t>
        <a:bodyPr/>
        <a:lstStyle/>
        <a:p>
          <a:endParaRPr lang="en-US"/>
        </a:p>
      </dgm:t>
    </dgm:pt>
    <dgm:pt modelId="{D55E7E39-34D0-46DA-B102-6A661941D33D}" type="sibTrans" cxnId="{4AFB76F5-6174-435D-B2E3-BD7E0CA0399B}">
      <dgm:prSet/>
      <dgm:spPr/>
      <dgm:t>
        <a:bodyPr/>
        <a:lstStyle/>
        <a:p>
          <a:endParaRPr lang="en-US"/>
        </a:p>
      </dgm:t>
    </dgm:pt>
    <dgm:pt modelId="{3593BC97-67D5-4654-B379-F68505D4A1A9}" type="pres">
      <dgm:prSet presAssocID="{D0BEE662-AC3A-4B53-B390-0C46A4AF7804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C800F7D-B321-4A44-9DFF-646D32ABFFDC}" type="pres">
      <dgm:prSet presAssocID="{197E362B-CC8A-4131-BD68-8658D1240C8B}" presName="parentLin" presStyleCnt="0"/>
      <dgm:spPr/>
    </dgm:pt>
    <dgm:pt modelId="{32F81023-5BA8-43E5-85FA-182612DB27BF}" type="pres">
      <dgm:prSet presAssocID="{197E362B-CC8A-4131-BD68-8658D1240C8B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099E16E7-7BEB-4C50-989A-B2F00FD9184A}" type="pres">
      <dgm:prSet presAssocID="{197E362B-CC8A-4131-BD68-8658D1240C8B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08D195-5003-4107-8702-3BF9F5AF56D7}" type="pres">
      <dgm:prSet presAssocID="{197E362B-CC8A-4131-BD68-8658D1240C8B}" presName="negativeSpace" presStyleCnt="0"/>
      <dgm:spPr/>
    </dgm:pt>
    <dgm:pt modelId="{8C611E72-BB04-4FAB-A79F-3DDF35B98851}" type="pres">
      <dgm:prSet presAssocID="{197E362B-CC8A-4131-BD68-8658D1240C8B}" presName="childText" presStyleLbl="conFgAcc1" presStyleIdx="0" presStyleCnt="3">
        <dgm:presLayoutVars>
          <dgm:bulletEnabled val="1"/>
        </dgm:presLayoutVars>
      </dgm:prSet>
      <dgm:spPr/>
    </dgm:pt>
    <dgm:pt modelId="{9F1CDA01-D184-41DA-A4F7-405D51909258}" type="pres">
      <dgm:prSet presAssocID="{5CEB33AA-A23A-4842-8BF6-FE025F9958A6}" presName="spaceBetweenRectangles" presStyleCnt="0"/>
      <dgm:spPr/>
    </dgm:pt>
    <dgm:pt modelId="{D6604FA6-E2CA-44A6-A07B-81D8846D4707}" type="pres">
      <dgm:prSet presAssocID="{9C33D269-7B0F-49C9-B6D5-4031F70A5267}" presName="parentLin" presStyleCnt="0"/>
      <dgm:spPr/>
    </dgm:pt>
    <dgm:pt modelId="{067BB650-8D45-41F0-995F-9D1CC4E951A6}" type="pres">
      <dgm:prSet presAssocID="{9C33D269-7B0F-49C9-B6D5-4031F70A5267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E51A2501-DB45-4CC9-89F8-7AA6B9BC97A5}" type="pres">
      <dgm:prSet presAssocID="{9C33D269-7B0F-49C9-B6D5-4031F70A5267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4DB127-1B2B-4DFD-B972-AF41D81D233F}" type="pres">
      <dgm:prSet presAssocID="{9C33D269-7B0F-49C9-B6D5-4031F70A5267}" presName="negativeSpace" presStyleCnt="0"/>
      <dgm:spPr/>
    </dgm:pt>
    <dgm:pt modelId="{ADBB1814-D9EA-42B6-BAF1-38B9C09846AE}" type="pres">
      <dgm:prSet presAssocID="{9C33D269-7B0F-49C9-B6D5-4031F70A5267}" presName="childText" presStyleLbl="conFgAcc1" presStyleIdx="1" presStyleCnt="3">
        <dgm:presLayoutVars>
          <dgm:bulletEnabled val="1"/>
        </dgm:presLayoutVars>
      </dgm:prSet>
      <dgm:spPr/>
    </dgm:pt>
    <dgm:pt modelId="{615B92CA-7E31-4378-98DE-B9CBB1480EB8}" type="pres">
      <dgm:prSet presAssocID="{0C321088-EE00-4543-B14E-A3FF094984E7}" presName="spaceBetweenRectangles" presStyleCnt="0"/>
      <dgm:spPr/>
    </dgm:pt>
    <dgm:pt modelId="{0A5F52FD-41DA-456E-9BD7-B85F0E3DC1DA}" type="pres">
      <dgm:prSet presAssocID="{0159A9D6-5699-4046-B06F-CF86E04A12C7}" presName="parentLin" presStyleCnt="0"/>
      <dgm:spPr/>
    </dgm:pt>
    <dgm:pt modelId="{418ACED6-43E5-4204-A9D4-E8C39CCF3E25}" type="pres">
      <dgm:prSet presAssocID="{0159A9D6-5699-4046-B06F-CF86E04A12C7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F77FB9BC-0E25-4FEE-80C9-7B2E2CBEB5DF}" type="pres">
      <dgm:prSet presAssocID="{0159A9D6-5699-4046-B06F-CF86E04A12C7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614E0B-879C-4F8B-AEE9-10CEA472E49A}" type="pres">
      <dgm:prSet presAssocID="{0159A9D6-5699-4046-B06F-CF86E04A12C7}" presName="negativeSpace" presStyleCnt="0"/>
      <dgm:spPr/>
    </dgm:pt>
    <dgm:pt modelId="{FD6CF15B-D9AD-4C35-87E8-A7CD60940BD3}" type="pres">
      <dgm:prSet presAssocID="{0159A9D6-5699-4046-B06F-CF86E04A12C7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F90E79C8-E65D-40B7-8F28-2473CADD5226}" type="presOf" srcId="{0159A9D6-5699-4046-B06F-CF86E04A12C7}" destId="{418ACED6-43E5-4204-A9D4-E8C39CCF3E25}" srcOrd="0" destOrd="0" presId="urn:microsoft.com/office/officeart/2005/8/layout/list1"/>
    <dgm:cxn modelId="{B4F1229E-CF95-46A0-8A93-CBD2D75DB36A}" type="presOf" srcId="{9C33D269-7B0F-49C9-B6D5-4031F70A5267}" destId="{067BB650-8D45-41F0-995F-9D1CC4E951A6}" srcOrd="0" destOrd="0" presId="urn:microsoft.com/office/officeart/2005/8/layout/list1"/>
    <dgm:cxn modelId="{F1AFEB71-E9BE-49FF-A617-F6D3D6AB6A81}" type="presOf" srcId="{0159A9D6-5699-4046-B06F-CF86E04A12C7}" destId="{F77FB9BC-0E25-4FEE-80C9-7B2E2CBEB5DF}" srcOrd="1" destOrd="0" presId="urn:microsoft.com/office/officeart/2005/8/layout/list1"/>
    <dgm:cxn modelId="{00C252A8-EDA7-4EC8-A485-261F0C7B0C4F}" type="presOf" srcId="{197E362B-CC8A-4131-BD68-8658D1240C8B}" destId="{099E16E7-7BEB-4C50-989A-B2F00FD9184A}" srcOrd="1" destOrd="0" presId="urn:microsoft.com/office/officeart/2005/8/layout/list1"/>
    <dgm:cxn modelId="{51E4B749-F950-423B-9BC3-FAE8D288E073}" type="presOf" srcId="{197E362B-CC8A-4131-BD68-8658D1240C8B}" destId="{32F81023-5BA8-43E5-85FA-182612DB27BF}" srcOrd="0" destOrd="0" presId="urn:microsoft.com/office/officeart/2005/8/layout/list1"/>
    <dgm:cxn modelId="{EFC2B15C-C2F1-484C-83DB-80B09E477A52}" srcId="{D0BEE662-AC3A-4B53-B390-0C46A4AF7804}" destId="{9C33D269-7B0F-49C9-B6D5-4031F70A5267}" srcOrd="1" destOrd="0" parTransId="{CF51A1EE-408B-435A-BD69-6498EA15193F}" sibTransId="{0C321088-EE00-4543-B14E-A3FF094984E7}"/>
    <dgm:cxn modelId="{FA3E4A76-B47B-46A4-8B0C-04CB7970DBA6}" type="presOf" srcId="{D0BEE662-AC3A-4B53-B390-0C46A4AF7804}" destId="{3593BC97-67D5-4654-B379-F68505D4A1A9}" srcOrd="0" destOrd="0" presId="urn:microsoft.com/office/officeart/2005/8/layout/list1"/>
    <dgm:cxn modelId="{176F9E7D-0FB3-471A-B438-917D5167F7C8}" type="presOf" srcId="{9C33D269-7B0F-49C9-B6D5-4031F70A5267}" destId="{E51A2501-DB45-4CC9-89F8-7AA6B9BC97A5}" srcOrd="1" destOrd="0" presId="urn:microsoft.com/office/officeart/2005/8/layout/list1"/>
    <dgm:cxn modelId="{4AFB76F5-6174-435D-B2E3-BD7E0CA0399B}" srcId="{D0BEE662-AC3A-4B53-B390-0C46A4AF7804}" destId="{0159A9D6-5699-4046-B06F-CF86E04A12C7}" srcOrd="2" destOrd="0" parTransId="{9371E72F-A457-4C2E-A360-E6A841D41662}" sibTransId="{D55E7E39-34D0-46DA-B102-6A661941D33D}"/>
    <dgm:cxn modelId="{0F6A315D-EE2D-4BFA-990D-8E6D13879F04}" srcId="{D0BEE662-AC3A-4B53-B390-0C46A4AF7804}" destId="{197E362B-CC8A-4131-BD68-8658D1240C8B}" srcOrd="0" destOrd="0" parTransId="{27E78B6B-350C-41F5-9AF8-72DA5B910C30}" sibTransId="{5CEB33AA-A23A-4842-8BF6-FE025F9958A6}"/>
    <dgm:cxn modelId="{9DC42A6C-B652-4A4A-B831-9318990F0173}" type="presParOf" srcId="{3593BC97-67D5-4654-B379-F68505D4A1A9}" destId="{6C800F7D-B321-4A44-9DFF-646D32ABFFDC}" srcOrd="0" destOrd="0" presId="urn:microsoft.com/office/officeart/2005/8/layout/list1"/>
    <dgm:cxn modelId="{C27B66E2-0287-4D67-916B-9D8FA6D4D834}" type="presParOf" srcId="{6C800F7D-B321-4A44-9DFF-646D32ABFFDC}" destId="{32F81023-5BA8-43E5-85FA-182612DB27BF}" srcOrd="0" destOrd="0" presId="urn:microsoft.com/office/officeart/2005/8/layout/list1"/>
    <dgm:cxn modelId="{F4984A16-A062-44DA-A24B-F1C6E985DF15}" type="presParOf" srcId="{6C800F7D-B321-4A44-9DFF-646D32ABFFDC}" destId="{099E16E7-7BEB-4C50-989A-B2F00FD9184A}" srcOrd="1" destOrd="0" presId="urn:microsoft.com/office/officeart/2005/8/layout/list1"/>
    <dgm:cxn modelId="{E3BB9AC3-EE67-422C-905B-204BE55324EB}" type="presParOf" srcId="{3593BC97-67D5-4654-B379-F68505D4A1A9}" destId="{5408D195-5003-4107-8702-3BF9F5AF56D7}" srcOrd="1" destOrd="0" presId="urn:microsoft.com/office/officeart/2005/8/layout/list1"/>
    <dgm:cxn modelId="{28A93D0C-7A12-4A36-8BD8-1BC7A821E8FF}" type="presParOf" srcId="{3593BC97-67D5-4654-B379-F68505D4A1A9}" destId="{8C611E72-BB04-4FAB-A79F-3DDF35B98851}" srcOrd="2" destOrd="0" presId="urn:microsoft.com/office/officeart/2005/8/layout/list1"/>
    <dgm:cxn modelId="{41C594AC-A77A-448E-A64F-8F0E1C2FE45A}" type="presParOf" srcId="{3593BC97-67D5-4654-B379-F68505D4A1A9}" destId="{9F1CDA01-D184-41DA-A4F7-405D51909258}" srcOrd="3" destOrd="0" presId="urn:microsoft.com/office/officeart/2005/8/layout/list1"/>
    <dgm:cxn modelId="{607C2DE6-0C71-42C6-86AB-B6AEB8F5956B}" type="presParOf" srcId="{3593BC97-67D5-4654-B379-F68505D4A1A9}" destId="{D6604FA6-E2CA-44A6-A07B-81D8846D4707}" srcOrd="4" destOrd="0" presId="urn:microsoft.com/office/officeart/2005/8/layout/list1"/>
    <dgm:cxn modelId="{460FE41F-88CA-4579-A008-F10A9B84B6E4}" type="presParOf" srcId="{D6604FA6-E2CA-44A6-A07B-81D8846D4707}" destId="{067BB650-8D45-41F0-995F-9D1CC4E951A6}" srcOrd="0" destOrd="0" presId="urn:microsoft.com/office/officeart/2005/8/layout/list1"/>
    <dgm:cxn modelId="{2679174D-4FE2-406A-9A31-CB98FBB8F79E}" type="presParOf" srcId="{D6604FA6-E2CA-44A6-A07B-81D8846D4707}" destId="{E51A2501-DB45-4CC9-89F8-7AA6B9BC97A5}" srcOrd="1" destOrd="0" presId="urn:microsoft.com/office/officeart/2005/8/layout/list1"/>
    <dgm:cxn modelId="{EB6F8EE9-A248-43CC-BC7C-41C359187C14}" type="presParOf" srcId="{3593BC97-67D5-4654-B379-F68505D4A1A9}" destId="{884DB127-1B2B-4DFD-B972-AF41D81D233F}" srcOrd="5" destOrd="0" presId="urn:microsoft.com/office/officeart/2005/8/layout/list1"/>
    <dgm:cxn modelId="{5A3C80C6-4E66-4F05-95A8-F17406A3DC40}" type="presParOf" srcId="{3593BC97-67D5-4654-B379-F68505D4A1A9}" destId="{ADBB1814-D9EA-42B6-BAF1-38B9C09846AE}" srcOrd="6" destOrd="0" presId="urn:microsoft.com/office/officeart/2005/8/layout/list1"/>
    <dgm:cxn modelId="{CA0A7B96-08A5-43F2-8F3B-34AE4B358CCE}" type="presParOf" srcId="{3593BC97-67D5-4654-B379-F68505D4A1A9}" destId="{615B92CA-7E31-4378-98DE-B9CBB1480EB8}" srcOrd="7" destOrd="0" presId="urn:microsoft.com/office/officeart/2005/8/layout/list1"/>
    <dgm:cxn modelId="{94381639-7E17-4198-8D80-30C75799DA24}" type="presParOf" srcId="{3593BC97-67D5-4654-B379-F68505D4A1A9}" destId="{0A5F52FD-41DA-456E-9BD7-B85F0E3DC1DA}" srcOrd="8" destOrd="0" presId="urn:microsoft.com/office/officeart/2005/8/layout/list1"/>
    <dgm:cxn modelId="{B5CC7F8F-D2C1-4165-9C91-67AE3AA7A1C9}" type="presParOf" srcId="{0A5F52FD-41DA-456E-9BD7-B85F0E3DC1DA}" destId="{418ACED6-43E5-4204-A9D4-E8C39CCF3E25}" srcOrd="0" destOrd="0" presId="urn:microsoft.com/office/officeart/2005/8/layout/list1"/>
    <dgm:cxn modelId="{662F1D8B-7721-4BA2-B578-A858550864E3}" type="presParOf" srcId="{0A5F52FD-41DA-456E-9BD7-B85F0E3DC1DA}" destId="{F77FB9BC-0E25-4FEE-80C9-7B2E2CBEB5DF}" srcOrd="1" destOrd="0" presId="urn:microsoft.com/office/officeart/2005/8/layout/list1"/>
    <dgm:cxn modelId="{510F5DC1-BC72-4FCE-B797-F5F7EE671D77}" type="presParOf" srcId="{3593BC97-67D5-4654-B379-F68505D4A1A9}" destId="{1F614E0B-879C-4F8B-AEE9-10CEA472E49A}" srcOrd="9" destOrd="0" presId="urn:microsoft.com/office/officeart/2005/8/layout/list1"/>
    <dgm:cxn modelId="{EE5F912F-F3A8-4EA5-B23B-6D186E260C0C}" type="presParOf" srcId="{3593BC97-67D5-4654-B379-F68505D4A1A9}" destId="{FD6CF15B-D9AD-4C35-87E8-A7CD60940BD3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F3D182-0F16-42EF-8CA2-4D70BF56B59B}" type="doc">
      <dgm:prSet loTypeId="urn:microsoft.com/office/officeart/2005/8/layout/vList4#1" loCatId="list" qsTypeId="urn:microsoft.com/office/officeart/2005/8/quickstyle/3d3" qsCatId="3D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D37D5D60-79F5-4F10-9C76-5C348CC90187}">
      <dgm:prSet phldrT="[Text]"/>
      <dgm:spPr/>
      <dgm:t>
        <a:bodyPr/>
        <a:lstStyle/>
        <a:p>
          <a:r>
            <a:rPr lang="en-US" dirty="0" smtClean="0"/>
            <a:t>International Advisory Group</a:t>
          </a:r>
          <a:endParaRPr lang="en-US" dirty="0"/>
        </a:p>
      </dgm:t>
    </dgm:pt>
    <dgm:pt modelId="{56A59C70-D02A-45C9-9618-1399826482FB}" type="parTrans" cxnId="{410481F4-87CE-4371-999C-5BCCF5C20A26}">
      <dgm:prSet/>
      <dgm:spPr/>
      <dgm:t>
        <a:bodyPr/>
        <a:lstStyle/>
        <a:p>
          <a:endParaRPr lang="en-US"/>
        </a:p>
      </dgm:t>
    </dgm:pt>
    <dgm:pt modelId="{5978B7AD-ACDB-41BB-8176-9CBCB88A43E2}" type="sibTrans" cxnId="{410481F4-87CE-4371-999C-5BCCF5C20A26}">
      <dgm:prSet/>
      <dgm:spPr/>
      <dgm:t>
        <a:bodyPr/>
        <a:lstStyle/>
        <a:p>
          <a:endParaRPr lang="en-US"/>
        </a:p>
      </dgm:t>
    </dgm:pt>
    <dgm:pt modelId="{A518B47F-2C00-49EA-8342-BB07EBB538C8}">
      <dgm:prSet phldrT="[Text]"/>
      <dgm:spPr/>
      <dgm:t>
        <a:bodyPr/>
        <a:lstStyle/>
        <a:p>
          <a:r>
            <a:rPr lang="en-US" dirty="0" smtClean="0"/>
            <a:t>Role: Provide guidance and recommendations on the conceptualization and implementation of the initiative</a:t>
          </a:r>
          <a:endParaRPr lang="en-US" dirty="0"/>
        </a:p>
      </dgm:t>
    </dgm:pt>
    <dgm:pt modelId="{A109A276-08A5-4BBD-8C64-8464F838305D}" type="parTrans" cxnId="{0ED44D3B-19F7-437B-9699-65176CCA11AC}">
      <dgm:prSet/>
      <dgm:spPr/>
      <dgm:t>
        <a:bodyPr/>
        <a:lstStyle/>
        <a:p>
          <a:endParaRPr lang="en-US"/>
        </a:p>
      </dgm:t>
    </dgm:pt>
    <dgm:pt modelId="{E3881470-52C8-41D0-80C2-479B9A61665C}" type="sibTrans" cxnId="{0ED44D3B-19F7-437B-9699-65176CCA11AC}">
      <dgm:prSet/>
      <dgm:spPr/>
      <dgm:t>
        <a:bodyPr/>
        <a:lstStyle/>
        <a:p>
          <a:endParaRPr lang="en-US"/>
        </a:p>
      </dgm:t>
    </dgm:pt>
    <dgm:pt modelId="{349A7B72-BA6A-416F-9F54-66A9D9AECF61}">
      <dgm:prSet phldrT="[Text]"/>
      <dgm:spPr/>
      <dgm:t>
        <a:bodyPr/>
        <a:lstStyle/>
        <a:p>
          <a:r>
            <a:rPr lang="en-US" dirty="0" smtClean="0"/>
            <a:t>Management Group</a:t>
          </a:r>
          <a:endParaRPr lang="en-US" dirty="0"/>
        </a:p>
      </dgm:t>
    </dgm:pt>
    <dgm:pt modelId="{78438049-D1F0-4A38-B6D8-CD358C000F00}" type="parTrans" cxnId="{66C41AED-634F-41D7-B813-819EA07499DB}">
      <dgm:prSet/>
      <dgm:spPr/>
      <dgm:t>
        <a:bodyPr/>
        <a:lstStyle/>
        <a:p>
          <a:endParaRPr lang="en-US"/>
        </a:p>
      </dgm:t>
    </dgm:pt>
    <dgm:pt modelId="{85A36643-69D7-4E0A-9127-E07970B2AC13}" type="sibTrans" cxnId="{66C41AED-634F-41D7-B813-819EA07499DB}">
      <dgm:prSet/>
      <dgm:spPr/>
      <dgm:t>
        <a:bodyPr/>
        <a:lstStyle/>
        <a:p>
          <a:endParaRPr lang="en-US"/>
        </a:p>
      </dgm:t>
    </dgm:pt>
    <dgm:pt modelId="{93A1168C-B696-4F80-95D9-002BC3ABF315}">
      <dgm:prSet phldrT="[Text]"/>
      <dgm:spPr/>
      <dgm:t>
        <a:bodyPr/>
        <a:lstStyle/>
        <a:p>
          <a:r>
            <a:rPr lang="en-US" dirty="0" smtClean="0"/>
            <a:t>Role: Ensure implementation proceeds according to the plans.</a:t>
          </a:r>
          <a:endParaRPr lang="en-US" dirty="0"/>
        </a:p>
      </dgm:t>
    </dgm:pt>
    <dgm:pt modelId="{72717D1E-300F-4B02-95D0-F70C1CB4F53A}" type="parTrans" cxnId="{EB783BC9-E4A1-4D81-BF17-37587D7ADE8F}">
      <dgm:prSet/>
      <dgm:spPr/>
      <dgm:t>
        <a:bodyPr/>
        <a:lstStyle/>
        <a:p>
          <a:endParaRPr lang="en-US"/>
        </a:p>
      </dgm:t>
    </dgm:pt>
    <dgm:pt modelId="{290D1238-A51C-4736-AE4C-7F189C5F25EC}" type="sibTrans" cxnId="{EB783BC9-E4A1-4D81-BF17-37587D7ADE8F}">
      <dgm:prSet/>
      <dgm:spPr/>
      <dgm:t>
        <a:bodyPr/>
        <a:lstStyle/>
        <a:p>
          <a:endParaRPr lang="en-US"/>
        </a:p>
      </dgm:t>
    </dgm:pt>
    <dgm:pt modelId="{F5B94133-FFA2-4078-A14A-0C5D7C06B478}">
      <dgm:prSet phldrT="[Text]"/>
      <dgm:spPr/>
      <dgm:t>
        <a:bodyPr/>
        <a:lstStyle/>
        <a:p>
          <a:r>
            <a:rPr lang="en-US" dirty="0" smtClean="0"/>
            <a:t>UNICEF, IOCE, and other partners</a:t>
          </a:r>
          <a:endParaRPr lang="en-US" dirty="0"/>
        </a:p>
      </dgm:t>
    </dgm:pt>
    <dgm:pt modelId="{9F8965D9-ED33-4D9F-9C83-099BE11EC314}" type="parTrans" cxnId="{E03492CB-3A65-4733-9E16-0BA55B48A71A}">
      <dgm:prSet/>
      <dgm:spPr/>
      <dgm:t>
        <a:bodyPr/>
        <a:lstStyle/>
        <a:p>
          <a:endParaRPr lang="en-US"/>
        </a:p>
      </dgm:t>
    </dgm:pt>
    <dgm:pt modelId="{96A15F42-B9B9-4565-A4A1-AEA2C2912F53}" type="sibTrans" cxnId="{E03492CB-3A65-4733-9E16-0BA55B48A71A}">
      <dgm:prSet/>
      <dgm:spPr/>
      <dgm:t>
        <a:bodyPr/>
        <a:lstStyle/>
        <a:p>
          <a:endParaRPr lang="en-US"/>
        </a:p>
      </dgm:t>
    </dgm:pt>
    <dgm:pt modelId="{473DC7D0-2C5E-4E29-8F4C-DA52F7E5DE72}" type="pres">
      <dgm:prSet presAssocID="{61F3D182-0F16-42EF-8CA2-4D70BF56B59B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7E24B15-21A8-449B-ADEC-A0BC48BED17B}" type="pres">
      <dgm:prSet presAssocID="{D37D5D60-79F5-4F10-9C76-5C348CC90187}" presName="comp" presStyleCnt="0"/>
      <dgm:spPr/>
    </dgm:pt>
    <dgm:pt modelId="{CE13D73B-FC8A-4B7E-BB84-93F2F40389E9}" type="pres">
      <dgm:prSet presAssocID="{D37D5D60-79F5-4F10-9C76-5C348CC90187}" presName="box" presStyleLbl="node1" presStyleIdx="0" presStyleCnt="2"/>
      <dgm:spPr/>
      <dgm:t>
        <a:bodyPr/>
        <a:lstStyle/>
        <a:p>
          <a:endParaRPr lang="en-US"/>
        </a:p>
      </dgm:t>
    </dgm:pt>
    <dgm:pt modelId="{31101ACD-A0C4-4492-96CF-984906FCCED8}" type="pres">
      <dgm:prSet presAssocID="{D37D5D60-79F5-4F10-9C76-5C348CC90187}" presName="img" presStyleLbl="fgImgPlace1" presStyleIdx="0" presStyleCnt="2"/>
      <dgm:spPr>
        <a:blipFill rotWithShape="0">
          <a:blip xmlns:r="http://schemas.openxmlformats.org/officeDocument/2006/relationships" r:embed="rId1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5D575630-400B-4CDB-AABC-F08637ACCFE8}" type="pres">
      <dgm:prSet presAssocID="{D37D5D60-79F5-4F10-9C76-5C348CC90187}" presName="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9A5EF5-9450-4940-AFF8-D2F319A9BDA2}" type="pres">
      <dgm:prSet presAssocID="{5978B7AD-ACDB-41BB-8176-9CBCB88A43E2}" presName="spacer" presStyleCnt="0"/>
      <dgm:spPr/>
    </dgm:pt>
    <dgm:pt modelId="{B4A5D31B-167C-45D9-8550-CFB5A886A3A0}" type="pres">
      <dgm:prSet presAssocID="{349A7B72-BA6A-416F-9F54-66A9D9AECF61}" presName="comp" presStyleCnt="0"/>
      <dgm:spPr/>
    </dgm:pt>
    <dgm:pt modelId="{23C55B53-7149-40BE-8E81-21CFD4586993}" type="pres">
      <dgm:prSet presAssocID="{349A7B72-BA6A-416F-9F54-66A9D9AECF61}" presName="box" presStyleLbl="node1" presStyleIdx="1" presStyleCnt="2"/>
      <dgm:spPr/>
      <dgm:t>
        <a:bodyPr/>
        <a:lstStyle/>
        <a:p>
          <a:endParaRPr lang="en-US"/>
        </a:p>
      </dgm:t>
    </dgm:pt>
    <dgm:pt modelId="{C39C329A-C563-48EF-A1BE-9A3313376087}" type="pres">
      <dgm:prSet presAssocID="{349A7B72-BA6A-416F-9F54-66A9D9AECF61}" presName="img" presStyleLbl="fgImgPlace1" presStyleIdx="1" presStyleCnt="2"/>
      <dgm:spPr>
        <a:blipFill rotWithShape="0">
          <a:blip xmlns:r="http://schemas.openxmlformats.org/officeDocument/2006/relationships"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A0668DCC-B044-478A-A242-9B63BD3888DA}" type="pres">
      <dgm:prSet presAssocID="{349A7B72-BA6A-416F-9F54-66A9D9AECF61}" presName="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03492CB-3A65-4733-9E16-0BA55B48A71A}" srcId="{349A7B72-BA6A-416F-9F54-66A9D9AECF61}" destId="{F5B94133-FFA2-4078-A14A-0C5D7C06B478}" srcOrd="1" destOrd="0" parTransId="{9F8965D9-ED33-4D9F-9C83-099BE11EC314}" sibTransId="{96A15F42-B9B9-4565-A4A1-AEA2C2912F53}"/>
    <dgm:cxn modelId="{44BDE075-94BF-4443-818D-64FA5E61E0C6}" type="presOf" srcId="{F5B94133-FFA2-4078-A14A-0C5D7C06B478}" destId="{23C55B53-7149-40BE-8E81-21CFD4586993}" srcOrd="0" destOrd="2" presId="urn:microsoft.com/office/officeart/2005/8/layout/vList4#1"/>
    <dgm:cxn modelId="{5D3F3431-1138-403C-AD96-91960E64DA3D}" type="presOf" srcId="{349A7B72-BA6A-416F-9F54-66A9D9AECF61}" destId="{23C55B53-7149-40BE-8E81-21CFD4586993}" srcOrd="0" destOrd="0" presId="urn:microsoft.com/office/officeart/2005/8/layout/vList4#1"/>
    <dgm:cxn modelId="{F444EE3D-4890-434A-ABB5-F99488F3FD29}" type="presOf" srcId="{A518B47F-2C00-49EA-8342-BB07EBB538C8}" destId="{CE13D73B-FC8A-4B7E-BB84-93F2F40389E9}" srcOrd="0" destOrd="1" presId="urn:microsoft.com/office/officeart/2005/8/layout/vList4#1"/>
    <dgm:cxn modelId="{042C8A12-203A-44D9-B133-1F9F71777294}" type="presOf" srcId="{93A1168C-B696-4F80-95D9-002BC3ABF315}" destId="{23C55B53-7149-40BE-8E81-21CFD4586993}" srcOrd="0" destOrd="1" presId="urn:microsoft.com/office/officeart/2005/8/layout/vList4#1"/>
    <dgm:cxn modelId="{EB783BC9-E4A1-4D81-BF17-37587D7ADE8F}" srcId="{349A7B72-BA6A-416F-9F54-66A9D9AECF61}" destId="{93A1168C-B696-4F80-95D9-002BC3ABF315}" srcOrd="0" destOrd="0" parTransId="{72717D1E-300F-4B02-95D0-F70C1CB4F53A}" sibTransId="{290D1238-A51C-4736-AE4C-7F189C5F25EC}"/>
    <dgm:cxn modelId="{8D44481B-95EB-4752-8383-58FD049376D4}" type="presOf" srcId="{349A7B72-BA6A-416F-9F54-66A9D9AECF61}" destId="{A0668DCC-B044-478A-A242-9B63BD3888DA}" srcOrd="1" destOrd="0" presId="urn:microsoft.com/office/officeart/2005/8/layout/vList4#1"/>
    <dgm:cxn modelId="{E25DBD9F-9F52-4524-8E8B-7AC8AC6DF9C5}" type="presOf" srcId="{F5B94133-FFA2-4078-A14A-0C5D7C06B478}" destId="{A0668DCC-B044-478A-A242-9B63BD3888DA}" srcOrd="1" destOrd="2" presId="urn:microsoft.com/office/officeart/2005/8/layout/vList4#1"/>
    <dgm:cxn modelId="{66C41AED-634F-41D7-B813-819EA07499DB}" srcId="{61F3D182-0F16-42EF-8CA2-4D70BF56B59B}" destId="{349A7B72-BA6A-416F-9F54-66A9D9AECF61}" srcOrd="1" destOrd="0" parTransId="{78438049-D1F0-4A38-B6D8-CD358C000F00}" sibTransId="{85A36643-69D7-4E0A-9127-E07970B2AC13}"/>
    <dgm:cxn modelId="{E6FE2FAD-C484-49E3-B3FB-08005480E99C}" type="presOf" srcId="{A518B47F-2C00-49EA-8342-BB07EBB538C8}" destId="{5D575630-400B-4CDB-AABC-F08637ACCFE8}" srcOrd="1" destOrd="1" presId="urn:microsoft.com/office/officeart/2005/8/layout/vList4#1"/>
    <dgm:cxn modelId="{C53BABA3-8038-4E40-BCD9-1779EBBC87D8}" type="presOf" srcId="{D37D5D60-79F5-4F10-9C76-5C348CC90187}" destId="{5D575630-400B-4CDB-AABC-F08637ACCFE8}" srcOrd="1" destOrd="0" presId="urn:microsoft.com/office/officeart/2005/8/layout/vList4#1"/>
    <dgm:cxn modelId="{EBA6728E-BA11-4B7D-811B-470E3E25D293}" type="presOf" srcId="{61F3D182-0F16-42EF-8CA2-4D70BF56B59B}" destId="{473DC7D0-2C5E-4E29-8F4C-DA52F7E5DE72}" srcOrd="0" destOrd="0" presId="urn:microsoft.com/office/officeart/2005/8/layout/vList4#1"/>
    <dgm:cxn modelId="{C38EE0B9-98BE-4218-BA6D-8925BBE416B0}" type="presOf" srcId="{D37D5D60-79F5-4F10-9C76-5C348CC90187}" destId="{CE13D73B-FC8A-4B7E-BB84-93F2F40389E9}" srcOrd="0" destOrd="0" presId="urn:microsoft.com/office/officeart/2005/8/layout/vList4#1"/>
    <dgm:cxn modelId="{77B46703-36ED-4C4A-9918-4CF5C810CECE}" type="presOf" srcId="{93A1168C-B696-4F80-95D9-002BC3ABF315}" destId="{A0668DCC-B044-478A-A242-9B63BD3888DA}" srcOrd="1" destOrd="1" presId="urn:microsoft.com/office/officeart/2005/8/layout/vList4#1"/>
    <dgm:cxn modelId="{0ED44D3B-19F7-437B-9699-65176CCA11AC}" srcId="{D37D5D60-79F5-4F10-9C76-5C348CC90187}" destId="{A518B47F-2C00-49EA-8342-BB07EBB538C8}" srcOrd="0" destOrd="0" parTransId="{A109A276-08A5-4BBD-8C64-8464F838305D}" sibTransId="{E3881470-52C8-41D0-80C2-479B9A61665C}"/>
    <dgm:cxn modelId="{410481F4-87CE-4371-999C-5BCCF5C20A26}" srcId="{61F3D182-0F16-42EF-8CA2-4D70BF56B59B}" destId="{D37D5D60-79F5-4F10-9C76-5C348CC90187}" srcOrd="0" destOrd="0" parTransId="{56A59C70-D02A-45C9-9618-1399826482FB}" sibTransId="{5978B7AD-ACDB-41BB-8176-9CBCB88A43E2}"/>
    <dgm:cxn modelId="{570807DF-A9A1-4605-A36F-20C52B908074}" type="presParOf" srcId="{473DC7D0-2C5E-4E29-8F4C-DA52F7E5DE72}" destId="{E7E24B15-21A8-449B-ADEC-A0BC48BED17B}" srcOrd="0" destOrd="0" presId="urn:microsoft.com/office/officeart/2005/8/layout/vList4#1"/>
    <dgm:cxn modelId="{882902DA-DB19-4C4F-8ED1-A15316EE8075}" type="presParOf" srcId="{E7E24B15-21A8-449B-ADEC-A0BC48BED17B}" destId="{CE13D73B-FC8A-4B7E-BB84-93F2F40389E9}" srcOrd="0" destOrd="0" presId="urn:microsoft.com/office/officeart/2005/8/layout/vList4#1"/>
    <dgm:cxn modelId="{D4F1DFF0-AF39-42FD-8578-28530B961B60}" type="presParOf" srcId="{E7E24B15-21A8-449B-ADEC-A0BC48BED17B}" destId="{31101ACD-A0C4-4492-96CF-984906FCCED8}" srcOrd="1" destOrd="0" presId="urn:microsoft.com/office/officeart/2005/8/layout/vList4#1"/>
    <dgm:cxn modelId="{04A77F9E-D2E4-4075-BA1D-FD84FB4B4D85}" type="presParOf" srcId="{E7E24B15-21A8-449B-ADEC-A0BC48BED17B}" destId="{5D575630-400B-4CDB-AABC-F08637ACCFE8}" srcOrd="2" destOrd="0" presId="urn:microsoft.com/office/officeart/2005/8/layout/vList4#1"/>
    <dgm:cxn modelId="{97D9B614-B1C9-4F50-8556-4B32413C9BD4}" type="presParOf" srcId="{473DC7D0-2C5E-4E29-8F4C-DA52F7E5DE72}" destId="{0F9A5EF5-9450-4940-AFF8-D2F319A9BDA2}" srcOrd="1" destOrd="0" presId="urn:microsoft.com/office/officeart/2005/8/layout/vList4#1"/>
    <dgm:cxn modelId="{F24A0400-1E32-4874-93DA-B058E888F3AB}" type="presParOf" srcId="{473DC7D0-2C5E-4E29-8F4C-DA52F7E5DE72}" destId="{B4A5D31B-167C-45D9-8550-CFB5A886A3A0}" srcOrd="2" destOrd="0" presId="urn:microsoft.com/office/officeart/2005/8/layout/vList4#1"/>
    <dgm:cxn modelId="{3F5B0000-A25A-4B77-81EE-C1D268CBF6EB}" type="presParOf" srcId="{B4A5D31B-167C-45D9-8550-CFB5A886A3A0}" destId="{23C55B53-7149-40BE-8E81-21CFD4586993}" srcOrd="0" destOrd="0" presId="urn:microsoft.com/office/officeart/2005/8/layout/vList4#1"/>
    <dgm:cxn modelId="{9781936A-3E0C-4238-82D4-17DFCE5C0E8F}" type="presParOf" srcId="{B4A5D31B-167C-45D9-8550-CFB5A886A3A0}" destId="{C39C329A-C563-48EF-A1BE-9A3313376087}" srcOrd="1" destOrd="0" presId="urn:microsoft.com/office/officeart/2005/8/layout/vList4#1"/>
    <dgm:cxn modelId="{D3D1ED61-2A72-4AE7-9E3A-53917E6EDE88}" type="presParOf" srcId="{B4A5D31B-167C-45D9-8550-CFB5A886A3A0}" destId="{A0668DCC-B044-478A-A242-9B63BD3888DA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FCD3A56-F1D6-47FD-9677-469A109E4A87}" type="doc">
      <dgm:prSet loTypeId="urn:microsoft.com/office/officeart/2005/8/layout/arrow2" loCatId="process" qsTypeId="urn:microsoft.com/office/officeart/2005/8/quickstyle/simple1" qsCatId="simple" csTypeId="urn:microsoft.com/office/officeart/2005/8/colors/accent3_5" csCatId="accent3" phldr="1"/>
      <dgm:spPr/>
    </dgm:pt>
    <dgm:pt modelId="{6CD2454E-D0BB-4EA9-A144-30098E621D0F}">
      <dgm:prSet phldrT="[Text]" custT="1"/>
      <dgm:spPr/>
      <dgm:t>
        <a:bodyPr/>
        <a:lstStyle/>
        <a:p>
          <a:r>
            <a:rPr lang="en-US" sz="2400" b="1" dirty="0" smtClean="0">
              <a:latin typeface="Bookman Old Style" pitchFamily="18" charset="0"/>
            </a:rPr>
            <a:t>Early 2012 - EvalPartners Launch + mapping</a:t>
          </a:r>
          <a:endParaRPr lang="en-US" sz="2400" b="1" dirty="0">
            <a:latin typeface="Bookman Old Style" pitchFamily="18" charset="0"/>
          </a:endParaRPr>
        </a:p>
      </dgm:t>
    </dgm:pt>
    <dgm:pt modelId="{A5D4F437-2661-4CF5-9D58-D5BE0C467C0D}" type="parTrans" cxnId="{628BC2FE-C20D-425D-A34C-1B76D8DAF066}">
      <dgm:prSet/>
      <dgm:spPr/>
      <dgm:t>
        <a:bodyPr/>
        <a:lstStyle/>
        <a:p>
          <a:endParaRPr lang="en-US"/>
        </a:p>
      </dgm:t>
    </dgm:pt>
    <dgm:pt modelId="{F5313D98-59A1-41AA-BF03-E4258926F6E3}" type="sibTrans" cxnId="{628BC2FE-C20D-425D-A34C-1B76D8DAF066}">
      <dgm:prSet/>
      <dgm:spPr/>
      <dgm:t>
        <a:bodyPr/>
        <a:lstStyle/>
        <a:p>
          <a:endParaRPr lang="en-US"/>
        </a:p>
      </dgm:t>
    </dgm:pt>
    <dgm:pt modelId="{F1D93439-5E3D-43EE-B042-2EDDFE2D8EBC}">
      <dgm:prSet phldrT="[Text]" custT="1"/>
      <dgm:spPr/>
      <dgm:t>
        <a:bodyPr/>
        <a:lstStyle/>
        <a:p>
          <a:r>
            <a:rPr lang="en-US" sz="2400" b="1" dirty="0" smtClean="0">
              <a:latin typeface="Bookman Old Style" pitchFamily="18" charset="0"/>
            </a:rPr>
            <a:t>December 2012 - International Forum of Civil Society Evaluation Capacity Building Strategies</a:t>
          </a:r>
          <a:endParaRPr lang="en-US" sz="2400" b="1" dirty="0">
            <a:latin typeface="Bookman Old Style" pitchFamily="18" charset="0"/>
          </a:endParaRPr>
        </a:p>
      </dgm:t>
    </dgm:pt>
    <dgm:pt modelId="{ACD7BC56-1CA8-4193-88C3-9E3E37539854}" type="parTrans" cxnId="{BD04C1DE-B725-4468-9743-8FD9CC79980F}">
      <dgm:prSet/>
      <dgm:spPr/>
      <dgm:t>
        <a:bodyPr/>
        <a:lstStyle/>
        <a:p>
          <a:endParaRPr lang="en-US"/>
        </a:p>
      </dgm:t>
    </dgm:pt>
    <dgm:pt modelId="{33347375-F6CA-49B5-9EE6-777A63DC6FDD}" type="sibTrans" cxnId="{BD04C1DE-B725-4468-9743-8FD9CC79980F}">
      <dgm:prSet/>
      <dgm:spPr/>
      <dgm:t>
        <a:bodyPr/>
        <a:lstStyle/>
        <a:p>
          <a:endParaRPr lang="en-US"/>
        </a:p>
      </dgm:t>
    </dgm:pt>
    <dgm:pt modelId="{CC90892A-1E09-4E74-BB76-3A12238C904E}">
      <dgm:prSet phldrT="[Text]" custT="1"/>
      <dgm:spPr/>
      <dgm:t>
        <a:bodyPr/>
        <a:lstStyle/>
        <a:p>
          <a:r>
            <a:rPr lang="en-US" sz="2800" b="1" smtClean="0"/>
            <a:t>2015 – The International Year of Evaluation</a:t>
          </a:r>
          <a:endParaRPr lang="en-US" sz="2800" b="1" dirty="0"/>
        </a:p>
      </dgm:t>
    </dgm:pt>
    <dgm:pt modelId="{F6A462A5-C8F9-4F22-98F9-58133299E1D8}" type="parTrans" cxnId="{56476BAC-9B16-40BF-A3A4-4C7CC64776B8}">
      <dgm:prSet/>
      <dgm:spPr/>
      <dgm:t>
        <a:bodyPr/>
        <a:lstStyle/>
        <a:p>
          <a:endParaRPr lang="en-US"/>
        </a:p>
      </dgm:t>
    </dgm:pt>
    <dgm:pt modelId="{F5503975-F9C5-492B-A012-93C0E9CEFB0C}" type="sibTrans" cxnId="{56476BAC-9B16-40BF-A3A4-4C7CC64776B8}">
      <dgm:prSet/>
      <dgm:spPr/>
      <dgm:t>
        <a:bodyPr/>
        <a:lstStyle/>
        <a:p>
          <a:endParaRPr lang="en-US"/>
        </a:p>
      </dgm:t>
    </dgm:pt>
    <dgm:pt modelId="{287E75AA-567E-4FA5-8864-80CBAC25ECC6}" type="pres">
      <dgm:prSet presAssocID="{6FCD3A56-F1D6-47FD-9677-469A109E4A87}" presName="arrowDiagram" presStyleCnt="0">
        <dgm:presLayoutVars>
          <dgm:chMax val="5"/>
          <dgm:dir/>
          <dgm:resizeHandles val="exact"/>
        </dgm:presLayoutVars>
      </dgm:prSet>
      <dgm:spPr/>
    </dgm:pt>
    <dgm:pt modelId="{1CBDE3C5-237D-449F-A09A-2C9577DDB953}" type="pres">
      <dgm:prSet presAssocID="{6FCD3A56-F1D6-47FD-9677-469A109E4A87}" presName="arrow" presStyleLbl="bgShp" presStyleIdx="0" presStyleCnt="1" custLinFactNeighborX="642"/>
      <dgm:spPr/>
    </dgm:pt>
    <dgm:pt modelId="{5EA2CAD6-588C-449E-9C32-E6B32715749D}" type="pres">
      <dgm:prSet presAssocID="{6FCD3A56-F1D6-47FD-9677-469A109E4A87}" presName="arrowDiagram3" presStyleCnt="0"/>
      <dgm:spPr/>
    </dgm:pt>
    <dgm:pt modelId="{191A56ED-76A5-408F-992E-826E2EBB24F0}" type="pres">
      <dgm:prSet presAssocID="{6CD2454E-D0BB-4EA9-A144-30098E621D0F}" presName="bullet3a" presStyleLbl="node1" presStyleIdx="0" presStyleCnt="3"/>
      <dgm:spPr/>
    </dgm:pt>
    <dgm:pt modelId="{89DF6984-23E3-4741-9C19-E392E2746764}" type="pres">
      <dgm:prSet presAssocID="{6CD2454E-D0BB-4EA9-A144-30098E621D0F}" presName="textBox3a" presStyleLbl="revTx" presStyleIdx="0" presStyleCnt="3" custScaleX="141028" custLinFactX="-4793" custLinFactY="-19146" custLinFactNeighborX="-100000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8B9750-C309-49D2-A88A-022196271D82}" type="pres">
      <dgm:prSet presAssocID="{F1D93439-5E3D-43EE-B042-2EDDFE2D8EBC}" presName="bullet3b" presStyleLbl="node1" presStyleIdx="1" presStyleCnt="3" custLinFactX="-100000" custLinFactY="51877" custLinFactNeighborX="-165305" custLinFactNeighborY="100000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3B2AEEA6-F7FB-4EC9-A501-E9C5D34D0AFE}" type="pres">
      <dgm:prSet presAssocID="{F1D93439-5E3D-43EE-B042-2EDDFE2D8EBC}" presName="textBox3b" presStyleLbl="revTx" presStyleIdx="1" presStyleCnt="3" custScaleX="292551" custScaleY="42186" custLinFactNeighborX="27914" custLinFactNeighborY="107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7B2DCB6-9CBE-4CDF-B59F-D52B328F711B}" type="pres">
      <dgm:prSet presAssocID="{CC90892A-1E09-4E74-BB76-3A12238C904E}" presName="bullet3c" presStyleLbl="node1" presStyleIdx="2" presStyleCnt="3" custLinFactX="-14811" custLinFactNeighborX="-100000" custLinFactNeighborY="27455"/>
      <dgm:spPr/>
    </dgm:pt>
    <dgm:pt modelId="{A1D310F1-5674-472B-B183-0614EA9F9C48}" type="pres">
      <dgm:prSet presAssocID="{CC90892A-1E09-4E74-BB76-3A12238C904E}" presName="textBox3c" presStyleLbl="revTx" presStyleIdx="2" presStyleCnt="3" custScaleX="222112" custScaleY="19952" custLinFactNeighborX="-85087" custLinFactNeighborY="-8263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6476BAC-9B16-40BF-A3A4-4C7CC64776B8}" srcId="{6FCD3A56-F1D6-47FD-9677-469A109E4A87}" destId="{CC90892A-1E09-4E74-BB76-3A12238C904E}" srcOrd="2" destOrd="0" parTransId="{F6A462A5-C8F9-4F22-98F9-58133299E1D8}" sibTransId="{F5503975-F9C5-492B-A012-93C0E9CEFB0C}"/>
    <dgm:cxn modelId="{CEB1059A-C2CE-4A64-BFDB-F49B76D7567C}" type="presOf" srcId="{6CD2454E-D0BB-4EA9-A144-30098E621D0F}" destId="{89DF6984-23E3-4741-9C19-E392E2746764}" srcOrd="0" destOrd="0" presId="urn:microsoft.com/office/officeart/2005/8/layout/arrow2"/>
    <dgm:cxn modelId="{BD04C1DE-B725-4468-9743-8FD9CC79980F}" srcId="{6FCD3A56-F1D6-47FD-9677-469A109E4A87}" destId="{F1D93439-5E3D-43EE-B042-2EDDFE2D8EBC}" srcOrd="1" destOrd="0" parTransId="{ACD7BC56-1CA8-4193-88C3-9E3E37539854}" sibTransId="{33347375-F6CA-49B5-9EE6-777A63DC6FDD}"/>
    <dgm:cxn modelId="{32364009-5646-44B7-B1C0-2311F2B96B2D}" type="presOf" srcId="{CC90892A-1E09-4E74-BB76-3A12238C904E}" destId="{A1D310F1-5674-472B-B183-0614EA9F9C48}" srcOrd="0" destOrd="0" presId="urn:microsoft.com/office/officeart/2005/8/layout/arrow2"/>
    <dgm:cxn modelId="{B28E1108-A178-4C2B-97A5-E2AA217582B2}" type="presOf" srcId="{6FCD3A56-F1D6-47FD-9677-469A109E4A87}" destId="{287E75AA-567E-4FA5-8864-80CBAC25ECC6}" srcOrd="0" destOrd="0" presId="urn:microsoft.com/office/officeart/2005/8/layout/arrow2"/>
    <dgm:cxn modelId="{628BC2FE-C20D-425D-A34C-1B76D8DAF066}" srcId="{6FCD3A56-F1D6-47FD-9677-469A109E4A87}" destId="{6CD2454E-D0BB-4EA9-A144-30098E621D0F}" srcOrd="0" destOrd="0" parTransId="{A5D4F437-2661-4CF5-9D58-D5BE0C467C0D}" sibTransId="{F5313D98-59A1-41AA-BF03-E4258926F6E3}"/>
    <dgm:cxn modelId="{5DB57038-50C0-47E9-A2CF-5AA0CE5FD67C}" type="presOf" srcId="{F1D93439-5E3D-43EE-B042-2EDDFE2D8EBC}" destId="{3B2AEEA6-F7FB-4EC9-A501-E9C5D34D0AFE}" srcOrd="0" destOrd="0" presId="urn:microsoft.com/office/officeart/2005/8/layout/arrow2"/>
    <dgm:cxn modelId="{B9F3657A-9C40-464A-894E-8645B4E5079A}" type="presParOf" srcId="{287E75AA-567E-4FA5-8864-80CBAC25ECC6}" destId="{1CBDE3C5-237D-449F-A09A-2C9577DDB953}" srcOrd="0" destOrd="0" presId="urn:microsoft.com/office/officeart/2005/8/layout/arrow2"/>
    <dgm:cxn modelId="{C08C625B-53EF-45D8-B3D5-276967C0CB09}" type="presParOf" srcId="{287E75AA-567E-4FA5-8864-80CBAC25ECC6}" destId="{5EA2CAD6-588C-449E-9C32-E6B32715749D}" srcOrd="1" destOrd="0" presId="urn:microsoft.com/office/officeart/2005/8/layout/arrow2"/>
    <dgm:cxn modelId="{10818466-52B1-4329-AB4B-7E7356659120}" type="presParOf" srcId="{5EA2CAD6-588C-449E-9C32-E6B32715749D}" destId="{191A56ED-76A5-408F-992E-826E2EBB24F0}" srcOrd="0" destOrd="0" presId="urn:microsoft.com/office/officeart/2005/8/layout/arrow2"/>
    <dgm:cxn modelId="{980603ED-2513-4A7A-8AEC-ED72F30D117C}" type="presParOf" srcId="{5EA2CAD6-588C-449E-9C32-E6B32715749D}" destId="{89DF6984-23E3-4741-9C19-E392E2746764}" srcOrd="1" destOrd="0" presId="urn:microsoft.com/office/officeart/2005/8/layout/arrow2"/>
    <dgm:cxn modelId="{D0AB8C4D-04DE-404F-BC56-D1F118463C58}" type="presParOf" srcId="{5EA2CAD6-588C-449E-9C32-E6B32715749D}" destId="{DF8B9750-C309-49D2-A88A-022196271D82}" srcOrd="2" destOrd="0" presId="urn:microsoft.com/office/officeart/2005/8/layout/arrow2"/>
    <dgm:cxn modelId="{150623C4-4EDD-4BAE-8947-C2AD42A70F11}" type="presParOf" srcId="{5EA2CAD6-588C-449E-9C32-E6B32715749D}" destId="{3B2AEEA6-F7FB-4EC9-A501-E9C5D34D0AFE}" srcOrd="3" destOrd="0" presId="urn:microsoft.com/office/officeart/2005/8/layout/arrow2"/>
    <dgm:cxn modelId="{84EDB0CA-6D93-4D9D-A154-EFA038F23537}" type="presParOf" srcId="{5EA2CAD6-588C-449E-9C32-E6B32715749D}" destId="{C7B2DCB6-9CBE-4CDF-B59F-D52B328F711B}" srcOrd="4" destOrd="0" presId="urn:microsoft.com/office/officeart/2005/8/layout/arrow2"/>
    <dgm:cxn modelId="{BB239C21-F292-4EA0-A973-375F1255DDDF}" type="presParOf" srcId="{5EA2CAD6-588C-449E-9C32-E6B32715749D}" destId="{A1D310F1-5674-472B-B183-0614EA9F9C48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6ACD94-145E-4703-AD26-7E23C097C207}">
      <dsp:nvSpPr>
        <dsp:cNvPr id="0" name=""/>
        <dsp:cNvSpPr/>
      </dsp:nvSpPr>
      <dsp:spPr>
        <a:xfrm>
          <a:off x="2828582" y="74517"/>
          <a:ext cx="1553606" cy="12773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4F0D50B-EAA8-47F4-98F0-CC53BF611039}">
      <dsp:nvSpPr>
        <dsp:cNvPr id="0" name=""/>
        <dsp:cNvSpPr/>
      </dsp:nvSpPr>
      <dsp:spPr>
        <a:xfrm>
          <a:off x="415536" y="0"/>
          <a:ext cx="2413046" cy="1426002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Strengthen institutional capacity</a:t>
          </a:r>
          <a:endParaRPr lang="en-US" sz="2000" kern="1200" dirty="0"/>
        </a:p>
      </dsp:txBody>
      <dsp:txXfrm>
        <a:off x="485148" y="69612"/>
        <a:ext cx="2273822" cy="1286778"/>
      </dsp:txXfrm>
    </dsp:sp>
    <dsp:sp modelId="{94992BC6-B107-46B8-BCB8-14553CC10C80}">
      <dsp:nvSpPr>
        <dsp:cNvPr id="0" name=""/>
        <dsp:cNvSpPr/>
      </dsp:nvSpPr>
      <dsp:spPr>
        <a:xfrm>
          <a:off x="2828582" y="1628257"/>
          <a:ext cx="1553606" cy="12773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F04F53-00FA-4AB7-9796-4445314693E1}">
      <dsp:nvSpPr>
        <dsp:cNvPr id="0" name=""/>
        <dsp:cNvSpPr/>
      </dsp:nvSpPr>
      <dsp:spPr>
        <a:xfrm>
          <a:off x="415536" y="1479622"/>
          <a:ext cx="2413046" cy="1426002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Raise the visibility, role and influence in countries</a:t>
          </a:r>
          <a:endParaRPr lang="en-US" sz="2000" kern="1200" dirty="0"/>
        </a:p>
      </dsp:txBody>
      <dsp:txXfrm>
        <a:off x="485148" y="1549234"/>
        <a:ext cx="2273822" cy="1286778"/>
      </dsp:txXfrm>
    </dsp:sp>
    <dsp:sp modelId="{4EF6F088-5450-41DB-AA42-354D5E22F409}">
      <dsp:nvSpPr>
        <dsp:cNvPr id="0" name=""/>
        <dsp:cNvSpPr/>
      </dsp:nvSpPr>
      <dsp:spPr>
        <a:xfrm>
          <a:off x="2828582" y="3181997"/>
          <a:ext cx="1553606" cy="1277368"/>
        </a:xfrm>
        <a:prstGeom prst="rightArrow">
          <a:avLst>
            <a:gd name="adj1" fmla="val 75000"/>
            <a:gd name="adj2" fmla="val 50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marL="285750" lvl="1" indent="-285750" algn="l" defTabSz="2400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5400" kern="1200" dirty="0"/>
        </a:p>
      </dsp:txBody>
      <dsp:txXfrm>
        <a:off x="2828582" y="3341668"/>
        <a:ext cx="1074593" cy="958026"/>
      </dsp:txXfrm>
    </dsp:sp>
    <dsp:sp modelId="{1AA1C11C-A40F-4B93-AF7D-BF2CF1320BA8}">
      <dsp:nvSpPr>
        <dsp:cNvPr id="0" name=""/>
        <dsp:cNvSpPr/>
      </dsp:nvSpPr>
      <dsp:spPr>
        <a:xfrm>
          <a:off x="415536" y="3033362"/>
          <a:ext cx="2413046" cy="1426002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Build evaluation capacity of VOPE members</a:t>
          </a:r>
          <a:endParaRPr lang="en-US" sz="2000" kern="1200" dirty="0"/>
        </a:p>
      </dsp:txBody>
      <dsp:txXfrm>
        <a:off x="485148" y="3102974"/>
        <a:ext cx="2273822" cy="12867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611E72-BB04-4FAB-A79F-3DDF35B98851}">
      <dsp:nvSpPr>
        <dsp:cNvPr id="0" name=""/>
        <dsp:cNvSpPr/>
      </dsp:nvSpPr>
      <dsp:spPr>
        <a:xfrm>
          <a:off x="0" y="464019"/>
          <a:ext cx="6096000" cy="781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p3d z="-152400"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99E16E7-7BEB-4C50-989A-B2F00FD9184A}">
      <dsp:nvSpPr>
        <dsp:cNvPr id="0" name=""/>
        <dsp:cNvSpPr/>
      </dsp:nvSpPr>
      <dsp:spPr>
        <a:xfrm>
          <a:off x="304800" y="6459"/>
          <a:ext cx="4267200" cy="91512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Strategic Partnership</a:t>
          </a:r>
          <a:endParaRPr lang="en-US" sz="3100" kern="1200" dirty="0"/>
        </a:p>
      </dsp:txBody>
      <dsp:txXfrm>
        <a:off x="349472" y="51131"/>
        <a:ext cx="4177856" cy="825776"/>
      </dsp:txXfrm>
    </dsp:sp>
    <dsp:sp modelId="{ADBB1814-D9EA-42B6-BAF1-38B9C09846AE}">
      <dsp:nvSpPr>
        <dsp:cNvPr id="0" name=""/>
        <dsp:cNvSpPr/>
      </dsp:nvSpPr>
      <dsp:spPr>
        <a:xfrm>
          <a:off x="0" y="1870179"/>
          <a:ext cx="6096000" cy="781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-151706"/>
              <a:satOff val="-24292"/>
              <a:lumOff val="18155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p3d z="-152400"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51A2501-DB45-4CC9-89F8-7AA6B9BC97A5}">
      <dsp:nvSpPr>
        <dsp:cNvPr id="0" name=""/>
        <dsp:cNvSpPr/>
      </dsp:nvSpPr>
      <dsp:spPr>
        <a:xfrm>
          <a:off x="304800" y="1412619"/>
          <a:ext cx="4267200" cy="915120"/>
        </a:xfrm>
        <a:prstGeom prst="roundRect">
          <a:avLst/>
        </a:prstGeom>
        <a:solidFill>
          <a:schemeClr val="accent2">
            <a:shade val="80000"/>
            <a:hueOff val="-151706"/>
            <a:satOff val="-24292"/>
            <a:lumOff val="18155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Innovation</a:t>
          </a:r>
          <a:endParaRPr lang="en-US" sz="3100" kern="1200" dirty="0"/>
        </a:p>
      </dsp:txBody>
      <dsp:txXfrm>
        <a:off x="349472" y="1457291"/>
        <a:ext cx="4177856" cy="825776"/>
      </dsp:txXfrm>
    </dsp:sp>
    <dsp:sp modelId="{FD6CF15B-D9AD-4C35-87E8-A7CD60940BD3}">
      <dsp:nvSpPr>
        <dsp:cNvPr id="0" name=""/>
        <dsp:cNvSpPr/>
      </dsp:nvSpPr>
      <dsp:spPr>
        <a:xfrm>
          <a:off x="0" y="3276340"/>
          <a:ext cx="6096000" cy="781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shade val="80000"/>
              <a:hueOff val="-303412"/>
              <a:satOff val="-48584"/>
              <a:lumOff val="36311"/>
              <a:alphaOff val="0"/>
            </a:schemeClr>
          </a:solidFill>
          <a:prstDash val="solid"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p3d z="-152400" prstMaterial="plastic">
          <a:bevelT w="25400" h="25400"/>
          <a:bevelB w="25400" h="254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77FB9BC-0E25-4FEE-80C9-7B2E2CBEB5DF}">
      <dsp:nvSpPr>
        <dsp:cNvPr id="0" name=""/>
        <dsp:cNvSpPr/>
      </dsp:nvSpPr>
      <dsp:spPr>
        <a:xfrm>
          <a:off x="304800" y="2818780"/>
          <a:ext cx="4267200" cy="915120"/>
        </a:xfrm>
        <a:prstGeom prst="roundRect">
          <a:avLst/>
        </a:prstGeom>
        <a:solidFill>
          <a:schemeClr val="accent2">
            <a:shade val="80000"/>
            <a:hueOff val="-303412"/>
            <a:satOff val="-48584"/>
            <a:lumOff val="36311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1290" tIns="0" rIns="161290" bIns="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100" kern="1200" dirty="0" smtClean="0"/>
            <a:t>Inclusion</a:t>
          </a:r>
          <a:endParaRPr lang="en-US" sz="3100" kern="1200" dirty="0"/>
        </a:p>
      </dsp:txBody>
      <dsp:txXfrm>
        <a:off x="349472" y="2863452"/>
        <a:ext cx="4177856" cy="82577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E13D73B-FC8A-4B7E-BB84-93F2F40389E9}">
      <dsp:nvSpPr>
        <dsp:cNvPr id="0" name=""/>
        <dsp:cNvSpPr/>
      </dsp:nvSpPr>
      <dsp:spPr>
        <a:xfrm>
          <a:off x="0" y="0"/>
          <a:ext cx="6781800" cy="1596181"/>
        </a:xfrm>
        <a:prstGeom prst="roundRect">
          <a:avLst>
            <a:gd name="adj" fmla="val 100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International Advisory Group</a:t>
          </a:r>
          <a:endParaRPr lang="en-US" sz="25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Role: Provide guidance and recommendations on the conceptualization and implementation of the initiative</a:t>
          </a:r>
          <a:endParaRPr lang="en-US" sz="2000" kern="1200" dirty="0"/>
        </a:p>
      </dsp:txBody>
      <dsp:txXfrm>
        <a:off x="1515978" y="0"/>
        <a:ext cx="5265821" cy="1596181"/>
      </dsp:txXfrm>
    </dsp:sp>
    <dsp:sp modelId="{31101ACD-A0C4-4492-96CF-984906FCCED8}">
      <dsp:nvSpPr>
        <dsp:cNvPr id="0" name=""/>
        <dsp:cNvSpPr/>
      </dsp:nvSpPr>
      <dsp:spPr>
        <a:xfrm>
          <a:off x="159618" y="159618"/>
          <a:ext cx="1356360" cy="1276945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>
          <a:noFill/>
        </a:ln>
        <a:effectLst>
          <a:outerShdw blurRad="51500" dist="25400" dir="5400000" rotWithShape="0">
            <a:srgbClr val="000000">
              <a:alpha val="40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3C55B53-7149-40BE-8E81-21CFD4586993}">
      <dsp:nvSpPr>
        <dsp:cNvPr id="0" name=""/>
        <dsp:cNvSpPr/>
      </dsp:nvSpPr>
      <dsp:spPr>
        <a:xfrm>
          <a:off x="0" y="1755799"/>
          <a:ext cx="6781800" cy="1596181"/>
        </a:xfrm>
        <a:prstGeom prst="roundRect">
          <a:avLst>
            <a:gd name="adj" fmla="val 10000"/>
          </a:avLst>
        </a:prstGeom>
        <a:solidFill>
          <a:schemeClr val="accent1">
            <a:shade val="80000"/>
            <a:hueOff val="-235565"/>
            <a:satOff val="2632"/>
            <a:lumOff val="25223"/>
            <a:alphaOff val="0"/>
          </a:schemeClr>
        </a:solidFill>
        <a:ln>
          <a:noFill/>
        </a:ln>
        <a:effectLst>
          <a:outerShdw blurRad="50800" dist="254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Management Group</a:t>
          </a:r>
          <a:endParaRPr lang="en-US" sz="25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Role: Ensure implementation proceeds according to the plans.</a:t>
          </a:r>
          <a:endParaRPr lang="en-US" sz="2000" kern="1200" dirty="0"/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/>
            <a:t>UNICEF, IOCE, and other partners</a:t>
          </a:r>
          <a:endParaRPr lang="en-US" sz="2000" kern="1200" dirty="0"/>
        </a:p>
      </dsp:txBody>
      <dsp:txXfrm>
        <a:off x="1515978" y="1755799"/>
        <a:ext cx="5265821" cy="1596181"/>
      </dsp:txXfrm>
    </dsp:sp>
    <dsp:sp modelId="{C39C329A-C563-48EF-A1BE-9A3313376087}">
      <dsp:nvSpPr>
        <dsp:cNvPr id="0" name=""/>
        <dsp:cNvSpPr/>
      </dsp:nvSpPr>
      <dsp:spPr>
        <a:xfrm>
          <a:off x="159618" y="1915417"/>
          <a:ext cx="1356360" cy="1276945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a:blipFill>
        <a:ln>
          <a:noFill/>
        </a:ln>
        <a:effectLst>
          <a:outerShdw blurRad="51500" dist="25400" dir="5400000" rotWithShape="0">
            <a:srgbClr val="000000">
              <a:alpha val="40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BDE3C5-237D-449F-A09A-2C9577DDB953}">
      <dsp:nvSpPr>
        <dsp:cNvPr id="0" name=""/>
        <dsp:cNvSpPr/>
      </dsp:nvSpPr>
      <dsp:spPr>
        <a:xfrm>
          <a:off x="-17636" y="0"/>
          <a:ext cx="8412480" cy="5257800"/>
        </a:xfrm>
        <a:prstGeom prst="swooshArrow">
          <a:avLst>
            <a:gd name="adj1" fmla="val 25000"/>
            <a:gd name="adj2" fmla="val 2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1A56ED-76A5-408F-992E-826E2EBB24F0}">
      <dsp:nvSpPr>
        <dsp:cNvPr id="0" name=""/>
        <dsp:cNvSpPr/>
      </dsp:nvSpPr>
      <dsp:spPr>
        <a:xfrm>
          <a:off x="996739" y="3628933"/>
          <a:ext cx="218724" cy="218724"/>
        </a:xfrm>
        <a:prstGeom prst="ellipse">
          <a:avLst/>
        </a:prstGeom>
        <a:solidFill>
          <a:schemeClr val="accent3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DF6984-23E3-4741-9C19-E392E2746764}">
      <dsp:nvSpPr>
        <dsp:cNvPr id="0" name=""/>
        <dsp:cNvSpPr/>
      </dsp:nvSpPr>
      <dsp:spPr>
        <a:xfrm>
          <a:off x="0" y="1927867"/>
          <a:ext cx="2764300" cy="15195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5898" tIns="0" rIns="0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Bookman Old Style" pitchFamily="18" charset="0"/>
            </a:rPr>
            <a:t>Early 2012 - EvalPartners Launch + mapping</a:t>
          </a:r>
          <a:endParaRPr lang="en-US" sz="2400" b="1" kern="1200" dirty="0">
            <a:latin typeface="Bookman Old Style" pitchFamily="18" charset="0"/>
          </a:endParaRPr>
        </a:p>
      </dsp:txBody>
      <dsp:txXfrm>
        <a:off x="0" y="1927867"/>
        <a:ext cx="2764300" cy="1519504"/>
      </dsp:txXfrm>
    </dsp:sp>
    <dsp:sp modelId="{DF8B9750-C309-49D2-A88A-022196271D82}">
      <dsp:nvSpPr>
        <dsp:cNvPr id="0" name=""/>
        <dsp:cNvSpPr/>
      </dsp:nvSpPr>
      <dsp:spPr>
        <a:xfrm>
          <a:off x="1878423" y="2800364"/>
          <a:ext cx="395386" cy="39538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2AEEA6-F7FB-4EC9-A501-E9C5D34D0AFE}">
      <dsp:nvSpPr>
        <dsp:cNvPr id="0" name=""/>
        <dsp:cNvSpPr/>
      </dsp:nvSpPr>
      <dsp:spPr>
        <a:xfrm>
          <a:off x="1744881" y="3531443"/>
          <a:ext cx="5906590" cy="12066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9507" tIns="0" rIns="0" bIns="0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Bookman Old Style" pitchFamily="18" charset="0"/>
            </a:rPr>
            <a:t>December 2012 - International Forum of Civil Society Evaluation Capacity Building Strategies</a:t>
          </a:r>
          <a:endParaRPr lang="en-US" sz="2400" b="1" kern="1200" dirty="0">
            <a:latin typeface="Bookman Old Style" pitchFamily="18" charset="0"/>
          </a:endParaRPr>
        </a:p>
      </dsp:txBody>
      <dsp:txXfrm>
        <a:off x="1744881" y="3531443"/>
        <a:ext cx="5906590" cy="1206622"/>
      </dsp:txXfrm>
    </dsp:sp>
    <dsp:sp modelId="{C7B2DCB6-9CBE-4CDF-B59F-D52B328F711B}">
      <dsp:nvSpPr>
        <dsp:cNvPr id="0" name=""/>
        <dsp:cNvSpPr/>
      </dsp:nvSpPr>
      <dsp:spPr>
        <a:xfrm>
          <a:off x="4621449" y="1480350"/>
          <a:ext cx="546811" cy="546811"/>
        </a:xfrm>
        <a:prstGeom prst="ellipse">
          <a:avLst/>
        </a:prstGeom>
        <a:solidFill>
          <a:schemeClr val="accent3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D310F1-5674-472B-B183-0614EA9F9C48}">
      <dsp:nvSpPr>
        <dsp:cNvPr id="0" name=""/>
        <dsp:cNvSpPr/>
      </dsp:nvSpPr>
      <dsp:spPr>
        <a:xfrm>
          <a:off x="2572033" y="46586"/>
          <a:ext cx="4484430" cy="7290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9744" tIns="0" rIns="0" bIns="0" numCol="1" spcCol="1270" anchor="t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b="1" kern="1200" smtClean="0"/>
            <a:t>2015 – The International Year of Evaluation</a:t>
          </a:r>
          <a:endParaRPr lang="en-US" sz="2800" b="1" kern="1200" dirty="0"/>
        </a:p>
      </dsp:txBody>
      <dsp:txXfrm>
        <a:off x="2572033" y="46586"/>
        <a:ext cx="4484430" cy="7290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7E6BF6-B859-418E-884F-DDC189ED8408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A49E5E-7867-4D98-801A-4EE7B407CE6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3313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F77D14-469D-4725-8A90-D7BCEBDE2F04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defTabSz="914437" eaLnBrk="0" hangingPunct="0">
              <a:defRPr sz="3100" b="1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29057" indent="-280406" defTabSz="914437" eaLnBrk="0" hangingPunct="0">
              <a:defRPr sz="31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21626" indent="-224325" defTabSz="914437" eaLnBrk="0" hangingPunct="0">
              <a:defRPr sz="31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570276" indent="-224325" defTabSz="914437" eaLnBrk="0" hangingPunct="0">
              <a:defRPr sz="31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18927" indent="-224325" defTabSz="914437" eaLnBrk="0" hangingPunct="0">
              <a:defRPr sz="31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467577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 sz="31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16227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 sz="31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364878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 sz="31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13528" indent="-224325" defTabSz="914437" eaLnBrk="0" fontAlgn="base" hangingPunct="0">
              <a:spcBef>
                <a:spcPct val="0"/>
              </a:spcBef>
              <a:spcAft>
                <a:spcPct val="0"/>
              </a:spcAft>
              <a:defRPr sz="3100" b="1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50311F2C-9DA2-0C47-986C-5E4E52913F7E}" type="slidenum">
              <a:rPr lang="en-GB" sz="1200" b="0"/>
              <a:pPr eaLnBrk="1" hangingPunct="1"/>
              <a:t>2</a:t>
            </a:fld>
            <a:endParaRPr lang="en-GB" sz="1200" b="0" dirty="0"/>
          </a:p>
        </p:txBody>
      </p:sp>
      <p:sp>
        <p:nvSpPr>
          <p:cNvPr id="399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4213"/>
            <a:ext cx="4573588" cy="3430587"/>
          </a:xfrm>
          <a:ln/>
        </p:spPr>
      </p:sp>
      <p:sp>
        <p:nvSpPr>
          <p:cNvPr id="3994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6421" y="4344025"/>
            <a:ext cx="5485158" cy="411604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F77D14-469D-4725-8A90-D7BCEBDE2F04}" type="slidenum">
              <a:rPr lang="en-US" smtClean="0"/>
              <a:pPr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1"/>
            <a:ext cx="5486400" cy="4106918"/>
          </a:xfrm>
        </p:spPr>
        <p:txBody>
          <a:bodyPr>
            <a:normAutofit fontScale="92500" lnSpcReduction="10000"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F77D14-469D-4725-8A90-D7BCEBDE2F04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1"/>
            <a:ext cx="5486400" cy="4106918"/>
          </a:xfrm>
        </p:spPr>
        <p:txBody>
          <a:bodyPr>
            <a:normAutofit fontScale="92500" lnSpcReduction="10000"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F77D14-469D-4725-8A90-D7BCEBDE2F04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1"/>
            <a:ext cx="5486400" cy="4106918"/>
          </a:xfrm>
        </p:spPr>
        <p:txBody>
          <a:bodyPr>
            <a:normAutofit fontScale="92500" lnSpcReduction="10000"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F77D14-469D-4725-8A90-D7BCEBDE2F04}" type="slidenum">
              <a:rPr lang="en-US" smtClean="0">
                <a:solidFill>
                  <a:prstClr val="black"/>
                </a:solidFill>
              </a:rPr>
              <a:pPr/>
              <a:t>26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1"/>
            <a:ext cx="5486400" cy="4106918"/>
          </a:xfrm>
        </p:spPr>
        <p:txBody>
          <a:bodyPr>
            <a:normAutofit fontScale="92500" lnSpcReduction="10000"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F77D14-469D-4725-8A90-D7BCEBDE2F04}" type="slidenum">
              <a:rPr lang="en-US" smtClean="0">
                <a:solidFill>
                  <a:prstClr val="black"/>
                </a:solidFill>
              </a:rPr>
              <a:pPr/>
              <a:t>27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6167EBE-2209-49CD-8DE5-BD4F4EF162B6}" type="slidenum">
              <a:rPr lang="de-DE"/>
              <a:pPr eaLnBrk="1" hangingPunct="1"/>
              <a:t>29</a:t>
            </a:fld>
            <a:endParaRPr lang="de-DE"/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43401"/>
            <a:ext cx="5486400" cy="4106918"/>
          </a:xfrm>
        </p:spPr>
        <p:txBody>
          <a:bodyPr>
            <a:normAutofit fontScale="92500" lnSpcReduction="10000"/>
          </a:bodyPr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F77D14-469D-4725-8A90-D7BCEBDE2F04}" type="slidenum">
              <a:rPr lang="en-US" smtClean="0">
                <a:solidFill>
                  <a:prstClr val="black"/>
                </a:solidFill>
              </a:rPr>
              <a:pPr/>
              <a:t>38</a:t>
            </a:fld>
            <a:endParaRPr lang="en-US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 flipV="1">
            <a:off x="5410182" y="3810000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4" name="Rectangle 23"/>
          <p:cNvSpPr/>
          <p:nvPr/>
        </p:nvSpPr>
        <p:spPr>
          <a:xfrm flipV="1">
            <a:off x="5410200" y="3897010"/>
            <a:ext cx="3733801" cy="192024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5" name="Rectangle 24"/>
          <p:cNvSpPr/>
          <p:nvPr/>
        </p:nvSpPr>
        <p:spPr>
          <a:xfrm flipV="1">
            <a:off x="5410200" y="4115167"/>
            <a:ext cx="3733801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6" name="Rectangle 25"/>
          <p:cNvSpPr/>
          <p:nvPr/>
        </p:nvSpPr>
        <p:spPr>
          <a:xfrm flipV="1">
            <a:off x="5410200" y="4164403"/>
            <a:ext cx="1965960" cy="18288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7" name="Rectangle 26"/>
          <p:cNvSpPr/>
          <p:nvPr/>
        </p:nvSpPr>
        <p:spPr>
          <a:xfrm flipV="1">
            <a:off x="5410200" y="4199572"/>
            <a:ext cx="1965960" cy="9144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 useBgFill="1">
        <p:nvSpPr>
          <p:cNvPr id="30" name="Rounded Rectangle 29"/>
          <p:cNvSpPr/>
          <p:nvPr/>
        </p:nvSpPr>
        <p:spPr bwMode="white">
          <a:xfrm>
            <a:off x="5410200" y="3962400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 useBgFill="1">
        <p:nvSpPr>
          <p:cNvPr id="31" name="Rounded Rectangle 30"/>
          <p:cNvSpPr/>
          <p:nvPr/>
        </p:nvSpPr>
        <p:spPr bwMode="white">
          <a:xfrm>
            <a:off x="7376507" y="406098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7" name="Rectangle 6"/>
          <p:cNvSpPr/>
          <p:nvPr/>
        </p:nvSpPr>
        <p:spPr>
          <a:xfrm>
            <a:off x="1" y="3649662"/>
            <a:ext cx="9144000" cy="244170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3675527"/>
            <a:ext cx="9144001" cy="14067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1" name="Rectangle 10"/>
          <p:cNvSpPr/>
          <p:nvPr/>
        </p:nvSpPr>
        <p:spPr>
          <a:xfrm flipV="1">
            <a:off x="6414051" y="3643090"/>
            <a:ext cx="2729950" cy="2484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19" name="Rectangle 18"/>
          <p:cNvSpPr/>
          <p:nvPr/>
        </p:nvSpPr>
        <p:spPr>
          <a:xfrm>
            <a:off x="0" y="0"/>
            <a:ext cx="9144000" cy="370170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457200" y="2401887"/>
            <a:ext cx="8458200" cy="147002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457200" y="3899938"/>
            <a:ext cx="4953000" cy="175260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6705600" y="4206240"/>
            <a:ext cx="960120" cy="457200"/>
          </a:xfrm>
        </p:spPr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5410200" y="4205288"/>
            <a:ext cx="1295400" cy="4572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320088" y="1136"/>
            <a:ext cx="747712" cy="365760"/>
          </a:xfrm>
        </p:spPr>
        <p:txBody>
          <a:bodyPr/>
          <a:lstStyle>
            <a:lvl1pPr algn="r">
              <a:defRPr sz="1800">
                <a:solidFill>
                  <a:schemeClr val="bg1"/>
                </a:solidFill>
              </a:defRPr>
            </a:lvl1pPr>
          </a:lstStyle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8" name="Picture 17" descr="ioce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609600" y="228600"/>
            <a:ext cx="8207829" cy="11049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40434" y="1109160"/>
            <a:ext cx="586803" cy="4681637"/>
          </a:xfrm>
        </p:spPr>
        <p:txBody>
          <a:bodyPr vert="vert270" lIns="45720" tIns="0" rIns="45720" anchor="t"/>
          <a:lstStyle>
            <a:lvl1pPr algn="ctr">
              <a:buNone/>
              <a:defRPr sz="2000" b="1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03671" y="1143000"/>
            <a:ext cx="4572000" cy="4572000"/>
          </a:xfrm>
          <a:solidFill>
            <a:srgbClr val="EAEAEA"/>
          </a:solidFill>
          <a:ln w="50800">
            <a:solidFill>
              <a:srgbClr val="FFFFFF"/>
            </a:solidFill>
            <a:miter lim="800000"/>
          </a:ln>
          <a:effectLst>
            <a:outerShdw blurRad="57150" dist="31750" dir="4800000" algn="tl" rotWithShape="0">
              <a:srgbClr val="000000">
                <a:alpha val="2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2540">
            <a:bevelT w="25400" h="19050"/>
            <a:contourClr>
              <a:srgbClr val="AEAEAE"/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dirty="0" smtClean="0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88443" y="3274308"/>
            <a:ext cx="2590800" cy="2516489"/>
          </a:xfrm>
        </p:spPr>
        <p:txBody>
          <a:bodyPr lIns="0" tIns="0" rIns="4572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1143000"/>
            <a:ext cx="1905000" cy="5486400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143000"/>
            <a:ext cx="6248400" cy="5486400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4325112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981200"/>
            <a:ext cx="7772400" cy="1362075"/>
          </a:xfrm>
        </p:spPr>
        <p:txBody>
          <a:bodyPr anchor="b">
            <a:noAutofit/>
          </a:bodyPr>
          <a:lstStyle>
            <a:lvl1pPr algn="l">
              <a:buNone/>
              <a:defRPr sz="4300" b="1" cap="none" baseline="0">
                <a:ln w="12700">
                  <a:solidFill>
                    <a:schemeClr val="accent2">
                      <a:shade val="90000"/>
                      <a:satMod val="15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367088"/>
            <a:ext cx="7772400" cy="1509712"/>
          </a:xfrm>
        </p:spPr>
        <p:txBody>
          <a:bodyPr anchor="t"/>
          <a:lstStyle>
            <a:lvl1pPr marL="45720" indent="0">
              <a:buNone/>
              <a:defRPr sz="2100" b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249424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143000"/>
            <a:ext cx="8382000" cy="1069848"/>
          </a:xfrm>
        </p:spPr>
        <p:txBody>
          <a:bodyPr anchor="ctr"/>
          <a:lstStyle>
            <a:lvl1pPr>
              <a:defRPr sz="4000" b="0" i="0" cap="none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2244970"/>
            <a:ext cx="4041648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721225" y="2244970"/>
            <a:ext cx="4041775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381000" y="2708519"/>
            <a:ext cx="4041648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18304" y="2708519"/>
            <a:ext cx="4041775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26" name="Date Placeholder 2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Footer Placeholder 2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9848"/>
          </a:xfrm>
        </p:spPr>
        <p:txBody>
          <a:bodyPr anchor="ctr"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583680" y="612648"/>
            <a:ext cx="957264" cy="457200"/>
          </a:xfrm>
        </p:spPr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257800" y="612648"/>
            <a:ext cx="1325880" cy="4572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174736" y="2272"/>
            <a:ext cx="762000" cy="365760"/>
          </a:xfrm>
        </p:spPr>
        <p:txBody>
          <a:bodyPr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553200" y="6172200"/>
            <a:ext cx="957264" cy="457200"/>
          </a:xfrm>
        </p:spPr>
        <p:txBody>
          <a:bodyPr/>
          <a:lstStyle/>
          <a:p>
            <a:r>
              <a:rPr lang="en-US" dirty="0" smtClean="0"/>
              <a:t>1-Feb-12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IOCE Present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D12210-9F55-4BDE-A53A-8C8EA0D63A9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496" y="1101970"/>
            <a:ext cx="3383280" cy="877824"/>
          </a:xfrm>
        </p:spPr>
        <p:txBody>
          <a:bodyPr anchor="b"/>
          <a:lstStyle>
            <a:lvl1pPr algn="l">
              <a:buNone/>
              <a:defRPr sz="1800" b="1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5353496" y="2010727"/>
            <a:ext cx="3383280" cy="4617720"/>
          </a:xfrm>
        </p:spPr>
        <p:txBody>
          <a:bodyPr/>
          <a:lstStyle>
            <a:lvl1pPr marL="9144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152400" y="776287"/>
            <a:ext cx="5102352" cy="58521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266E9B-FC30-4028-9066-1D406F522560}" type="datetimeFigureOut">
              <a:rPr lang="en-US" smtClean="0"/>
              <a:pPr/>
              <a:t>9/24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AB0471-2C93-4593-B455-5A5E20D38F0D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>
          <a:xfrm>
            <a:off x="1" y="366818"/>
            <a:ext cx="9144000" cy="8440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9" name="Rectangle 28"/>
          <p:cNvSpPr/>
          <p:nvPr/>
        </p:nvSpPr>
        <p:spPr>
          <a:xfrm>
            <a:off x="0" y="-1"/>
            <a:ext cx="9144000" cy="310663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0" name="Rectangle 29"/>
          <p:cNvSpPr/>
          <p:nvPr/>
        </p:nvSpPr>
        <p:spPr>
          <a:xfrm>
            <a:off x="0" y="308276"/>
            <a:ext cx="9144001" cy="91441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1" name="Rectangle 30"/>
          <p:cNvSpPr/>
          <p:nvPr/>
        </p:nvSpPr>
        <p:spPr>
          <a:xfrm flipV="1">
            <a:off x="5410182" y="360246"/>
            <a:ext cx="3733819" cy="910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2" name="Rectangle 31"/>
          <p:cNvSpPr/>
          <p:nvPr/>
        </p:nvSpPr>
        <p:spPr>
          <a:xfrm flipV="1">
            <a:off x="5410200" y="440112"/>
            <a:ext cx="3733801" cy="18003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 useBgFill="1">
        <p:nvSpPr>
          <p:cNvPr id="33" name="Rounded Rectangle 32"/>
          <p:cNvSpPr/>
          <p:nvPr/>
        </p:nvSpPr>
        <p:spPr bwMode="white">
          <a:xfrm>
            <a:off x="5407339" y="497504"/>
            <a:ext cx="3063240" cy="2743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 useBgFill="1">
        <p:nvSpPr>
          <p:cNvPr id="34" name="Rounded Rectangle 33"/>
          <p:cNvSpPr/>
          <p:nvPr/>
        </p:nvSpPr>
        <p:spPr bwMode="white">
          <a:xfrm>
            <a:off x="7373646" y="588943"/>
            <a:ext cx="1600200" cy="36576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5" name="Rectangle 34"/>
          <p:cNvSpPr/>
          <p:nvPr/>
        </p:nvSpPr>
        <p:spPr bwMode="invGray">
          <a:xfrm>
            <a:off x="9084966" y="-2001"/>
            <a:ext cx="57626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6" name="Rectangle 35"/>
          <p:cNvSpPr/>
          <p:nvPr/>
        </p:nvSpPr>
        <p:spPr bwMode="invGray">
          <a:xfrm>
            <a:off x="9044481" y="-2001"/>
            <a:ext cx="27432" cy="621792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7" name="Rectangle 36"/>
          <p:cNvSpPr/>
          <p:nvPr/>
        </p:nvSpPr>
        <p:spPr bwMode="invGray">
          <a:xfrm>
            <a:off x="9025428" y="-2001"/>
            <a:ext cx="9144" cy="621792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8" name="Rectangle 37"/>
          <p:cNvSpPr/>
          <p:nvPr/>
        </p:nvSpPr>
        <p:spPr bwMode="invGray">
          <a:xfrm>
            <a:off x="8975423" y="-2001"/>
            <a:ext cx="27432" cy="621792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39" name="Rectangle 38"/>
          <p:cNvSpPr/>
          <p:nvPr/>
        </p:nvSpPr>
        <p:spPr bwMode="invGray">
          <a:xfrm>
            <a:off x="8915677" y="380"/>
            <a:ext cx="54864" cy="585216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40" name="Rectangle 39"/>
          <p:cNvSpPr/>
          <p:nvPr/>
        </p:nvSpPr>
        <p:spPr bwMode="invGray">
          <a:xfrm>
            <a:off x="8873475" y="380"/>
            <a:ext cx="9144" cy="585216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 dirty="0"/>
          </a:p>
        </p:txBody>
      </p:sp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457200" y="1143000"/>
            <a:ext cx="8229600" cy="10668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57200" y="2249424"/>
            <a:ext cx="8229600" cy="432511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586536" y="612648"/>
            <a:ext cx="957264" cy="45720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1-Feb-12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57800" y="612648"/>
            <a:ext cx="1325880" cy="45720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80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IOCE Presentation</a:t>
            </a:r>
            <a:endParaRPr lang="en-US" dirty="0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8174736" y="2272"/>
            <a:ext cx="762000" cy="365760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800">
                <a:solidFill>
                  <a:srgbClr val="FFFFFF"/>
                </a:solidFill>
              </a:defRPr>
            </a:lvl1pPr>
          </a:lstStyle>
          <a:p>
            <a:fld id="{B0D12210-9F55-4BDE-A53A-8C8EA0D63A9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19"/>
          <p:cNvPicPr/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2900" y="6096000"/>
            <a:ext cx="1181100" cy="58483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6" r:id="rId7"/>
    <p:sldLayoutId id="2147483691" r:id="rId8"/>
    <p:sldLayoutId id="2147483692" r:id="rId9"/>
    <p:sldLayoutId id="2147483693" r:id="rId10"/>
    <p:sldLayoutId id="2147483694" r:id="rId11"/>
    <p:sldLayoutId id="2147483695" r:id="rId12"/>
  </p:sldLayoutIdLst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65760" indent="-256032" algn="l" rtl="0" eaLnBrk="1" latinLnBrk="0" hangingPunct="1">
        <a:spcBef>
          <a:spcPts val="300"/>
        </a:spcBef>
        <a:buClr>
          <a:schemeClr val="accent3"/>
        </a:buClr>
        <a:buFont typeface="Georgia"/>
        <a:buChar char="•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8368" indent="-246888" algn="l" rtl="0" eaLnBrk="1" latinLnBrk="0" hangingPunct="1">
        <a:spcBef>
          <a:spcPts val="300"/>
        </a:spcBef>
        <a:buClr>
          <a:schemeClr val="accent2"/>
        </a:buClr>
        <a:buFont typeface="Georgia"/>
        <a:buChar char="▫"/>
        <a:defRPr kumimoji="0" sz="2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923544" indent="-219456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79576" indent="-201168" algn="l" rtl="0" eaLnBrk="1" latinLnBrk="0" hangingPunct="1">
        <a:spcBef>
          <a:spcPts val="300"/>
        </a:spcBef>
        <a:buClr>
          <a:schemeClr val="accent1"/>
        </a:buClr>
        <a:buFont typeface="Wingdings 2"/>
        <a:buChar char=""/>
        <a:defRPr kumimoji="0" sz="2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8988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2000" kern="1200">
          <a:solidFill>
            <a:schemeClr val="accent3"/>
          </a:solidFill>
          <a:latin typeface="+mn-lt"/>
          <a:ea typeface="+mn-ea"/>
          <a:cs typeface="+mn-cs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ioce.net/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8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8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image" Target="../media/image14.png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image" Target="../media/image15.png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hyperlink" Target="http://www.mymande.org/" TargetMode="Externa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mymande.org/EvalPartners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wmf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ctrTitle"/>
          </p:nvPr>
        </p:nvSpPr>
        <p:spPr>
          <a:xfrm>
            <a:off x="520000" y="2995496"/>
            <a:ext cx="8123662" cy="3252904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cs typeface="Calibri" charset="0"/>
              </a:rPr>
              <a:t>The international Partnership Initiative to promote Evaluation Capacity Development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936" y="304800"/>
            <a:ext cx="8718664" cy="3702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852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6478" y="6086900"/>
            <a:ext cx="899357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1981 </a:t>
            </a:r>
            <a:r>
              <a:rPr lang="en-US" sz="2000" b="1" dirty="0" smtClean="0"/>
              <a:t>Canadian </a:t>
            </a:r>
            <a:r>
              <a:rPr lang="en-US" sz="2000" b="1" dirty="0"/>
              <a:t>Evaluation Society </a:t>
            </a:r>
            <a:r>
              <a:rPr lang="en-US" sz="2000" b="1" dirty="0" smtClean="0"/>
              <a:t>(CES) </a:t>
            </a:r>
          </a:p>
          <a:p>
            <a:pPr algn="ctr"/>
            <a:r>
              <a:rPr lang="en-US" b="1" dirty="0" err="1" smtClean="0"/>
              <a:t>Societe</a:t>
            </a:r>
            <a:r>
              <a:rPr lang="en-US" b="1" dirty="0" smtClean="0"/>
              <a:t> </a:t>
            </a:r>
            <a:r>
              <a:rPr lang="en-US" b="1" dirty="0" err="1"/>
              <a:t>canadienne</a:t>
            </a:r>
            <a:r>
              <a:rPr lang="en-US" b="1" dirty="0"/>
              <a:t> </a:t>
            </a:r>
            <a:r>
              <a:rPr lang="en-US" b="1" dirty="0" err="1" smtClean="0"/>
              <a:t>d'evaluation</a:t>
            </a:r>
            <a:r>
              <a:rPr lang="en-US" b="1" dirty="0" smtClean="0"/>
              <a:t> (SCE)</a:t>
            </a:r>
            <a:endParaRPr lang="en-US" b="1" dirty="0"/>
          </a:p>
        </p:txBody>
      </p:sp>
      <p:sp>
        <p:nvSpPr>
          <p:cNvPr id="4" name="7-Point Star 3"/>
          <p:cNvSpPr/>
          <p:nvPr/>
        </p:nvSpPr>
        <p:spPr>
          <a:xfrm>
            <a:off x="1473957" y="1965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65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6478" y="6018660"/>
            <a:ext cx="899357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1986 </a:t>
            </a:r>
            <a:r>
              <a:rPr lang="en-US" sz="2400" b="1" dirty="0"/>
              <a:t>– American Evaluation </a:t>
            </a:r>
            <a:r>
              <a:rPr lang="en-US" sz="2400" b="1" dirty="0" smtClean="0"/>
              <a:t>Association (AEA)</a:t>
            </a:r>
            <a:endParaRPr lang="en-US" sz="2000" b="1" dirty="0" smtClean="0"/>
          </a:p>
          <a:p>
            <a:pPr algn="ctr"/>
            <a:r>
              <a:rPr lang="en-US" sz="2000" dirty="0" smtClean="0"/>
              <a:t>merger of </a:t>
            </a:r>
            <a:r>
              <a:rPr lang="en-US" sz="2000" dirty="0"/>
              <a:t>Evaluation Research Society </a:t>
            </a:r>
            <a:r>
              <a:rPr lang="en-US" sz="2000" dirty="0" smtClean="0"/>
              <a:t>(1979) and </a:t>
            </a:r>
            <a:r>
              <a:rPr lang="en-US" sz="2000" dirty="0"/>
              <a:t>Evaluation </a:t>
            </a:r>
            <a:r>
              <a:rPr lang="en-US" sz="2000" dirty="0" smtClean="0"/>
              <a:t>Network (1982)</a:t>
            </a:r>
            <a:endParaRPr lang="en-US" sz="2000" dirty="0"/>
          </a:p>
        </p:txBody>
      </p:sp>
      <p:sp>
        <p:nvSpPr>
          <p:cNvPr id="4" name="7-Point Star 3"/>
          <p:cNvSpPr/>
          <p:nvPr/>
        </p:nvSpPr>
        <p:spPr>
          <a:xfrm>
            <a:off x="1473957" y="1965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7-Point Star 5"/>
          <p:cNvSpPr/>
          <p:nvPr/>
        </p:nvSpPr>
        <p:spPr>
          <a:xfrm>
            <a:off x="1626357" y="2786425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01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6478" y="6209732"/>
            <a:ext cx="89935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1987 </a:t>
            </a:r>
            <a:r>
              <a:rPr lang="en-US" sz="2400" b="1" dirty="0"/>
              <a:t>– </a:t>
            </a:r>
            <a:r>
              <a:rPr lang="fr-FR" sz="2400" b="1" dirty="0"/>
              <a:t>Australasian Evaluation Society</a:t>
            </a:r>
            <a:r>
              <a:rPr lang="en-US" sz="2400" b="1" dirty="0" smtClean="0"/>
              <a:t> (AES)</a:t>
            </a:r>
            <a:endParaRPr lang="en-US" sz="2400" b="1" dirty="0"/>
          </a:p>
        </p:txBody>
      </p:sp>
      <p:sp>
        <p:nvSpPr>
          <p:cNvPr id="4" name="7-Point Star 3"/>
          <p:cNvSpPr/>
          <p:nvPr/>
        </p:nvSpPr>
        <p:spPr>
          <a:xfrm>
            <a:off x="1473957" y="1965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7-Point Star 5"/>
          <p:cNvSpPr/>
          <p:nvPr/>
        </p:nvSpPr>
        <p:spPr>
          <a:xfrm>
            <a:off x="1626357" y="2786425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7-Point Star 7"/>
          <p:cNvSpPr/>
          <p:nvPr/>
        </p:nvSpPr>
        <p:spPr>
          <a:xfrm>
            <a:off x="8275091" y="4781272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28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6478" y="6209732"/>
            <a:ext cx="89935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1992 </a:t>
            </a:r>
            <a:r>
              <a:rPr lang="en-US" sz="2000" b="1" dirty="0"/>
              <a:t>– </a:t>
            </a:r>
            <a:r>
              <a:rPr lang="en-US" sz="2000" b="1" dirty="0" smtClean="0"/>
              <a:t>UK</a:t>
            </a:r>
            <a:r>
              <a:rPr lang="fr-FR" sz="2000" b="1" dirty="0" smtClean="0"/>
              <a:t> </a:t>
            </a:r>
            <a:r>
              <a:rPr lang="fr-FR" sz="2000" b="1" dirty="0"/>
              <a:t>Evaluation Society</a:t>
            </a:r>
            <a:r>
              <a:rPr lang="en-US" sz="2000" b="1" dirty="0" smtClean="0"/>
              <a:t> (UKES)</a:t>
            </a:r>
            <a:endParaRPr lang="en-US" sz="2000" b="1" dirty="0"/>
          </a:p>
        </p:txBody>
      </p:sp>
      <p:sp>
        <p:nvSpPr>
          <p:cNvPr id="4" name="7-Point Star 3"/>
          <p:cNvSpPr/>
          <p:nvPr/>
        </p:nvSpPr>
        <p:spPr>
          <a:xfrm>
            <a:off x="1473957" y="1965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7-Point Star 5"/>
          <p:cNvSpPr/>
          <p:nvPr/>
        </p:nvSpPr>
        <p:spPr>
          <a:xfrm>
            <a:off x="1626357" y="2786425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7-Point Star 6"/>
          <p:cNvSpPr/>
          <p:nvPr/>
        </p:nvSpPr>
        <p:spPr>
          <a:xfrm>
            <a:off x="2583960" y="2442949"/>
            <a:ext cx="163773" cy="243668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7-Point Star 8"/>
          <p:cNvSpPr/>
          <p:nvPr/>
        </p:nvSpPr>
        <p:spPr>
          <a:xfrm>
            <a:off x="8275091" y="4781272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7-Point Star 9"/>
          <p:cNvSpPr/>
          <p:nvPr/>
        </p:nvSpPr>
        <p:spPr>
          <a:xfrm>
            <a:off x="4223834" y="2402003"/>
            <a:ext cx="163773" cy="243669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268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6478" y="6209732"/>
            <a:ext cx="89935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/>
              <a:t>1994 </a:t>
            </a:r>
            <a:r>
              <a:rPr lang="en-US" sz="2400" b="1" dirty="0"/>
              <a:t>– </a:t>
            </a:r>
            <a:r>
              <a:rPr lang="en-US" sz="2400" b="1" dirty="0" smtClean="0"/>
              <a:t>European</a:t>
            </a:r>
            <a:r>
              <a:rPr lang="fr-FR" sz="2400" b="1" dirty="0" smtClean="0"/>
              <a:t> </a:t>
            </a:r>
            <a:r>
              <a:rPr lang="fr-FR" sz="2400" b="1" dirty="0"/>
              <a:t>Evaluation Society</a:t>
            </a:r>
            <a:r>
              <a:rPr lang="en-US" sz="2400" b="1" dirty="0" smtClean="0"/>
              <a:t> (EES)</a:t>
            </a:r>
            <a:endParaRPr lang="en-US" sz="2400" b="1" dirty="0"/>
          </a:p>
        </p:txBody>
      </p:sp>
      <p:sp>
        <p:nvSpPr>
          <p:cNvPr id="4" name="7-Point Star 3"/>
          <p:cNvSpPr/>
          <p:nvPr/>
        </p:nvSpPr>
        <p:spPr>
          <a:xfrm>
            <a:off x="1473957" y="1965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7-Point Star 5"/>
          <p:cNvSpPr/>
          <p:nvPr/>
        </p:nvSpPr>
        <p:spPr>
          <a:xfrm>
            <a:off x="1626357" y="2786425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7-Point Star 6"/>
          <p:cNvSpPr/>
          <p:nvPr/>
        </p:nvSpPr>
        <p:spPr>
          <a:xfrm>
            <a:off x="2583960" y="2442949"/>
            <a:ext cx="163773" cy="243668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7-Point Star 7"/>
          <p:cNvSpPr/>
          <p:nvPr/>
        </p:nvSpPr>
        <p:spPr>
          <a:xfrm>
            <a:off x="3978174" y="2639711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7-Point Star 8"/>
          <p:cNvSpPr/>
          <p:nvPr/>
        </p:nvSpPr>
        <p:spPr>
          <a:xfrm>
            <a:off x="4205203" y="2396042"/>
            <a:ext cx="163773" cy="243669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7-Point Star 9"/>
          <p:cNvSpPr/>
          <p:nvPr/>
        </p:nvSpPr>
        <p:spPr>
          <a:xfrm>
            <a:off x="8275091" y="4781272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76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6478" y="6209732"/>
            <a:ext cx="89935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1999 </a:t>
            </a:r>
            <a:r>
              <a:rPr lang="en-US" sz="2000" b="1" dirty="0"/>
              <a:t>– African Evaluation Association</a:t>
            </a:r>
            <a:r>
              <a:rPr lang="fr-FR" sz="2000" b="1" dirty="0" smtClean="0"/>
              <a:t> </a:t>
            </a:r>
            <a:r>
              <a:rPr lang="en-US" sz="2000" b="1" dirty="0" smtClean="0"/>
              <a:t>(AfrEA)</a:t>
            </a:r>
            <a:endParaRPr lang="en-US" sz="2000" b="1" dirty="0"/>
          </a:p>
        </p:txBody>
      </p:sp>
      <p:sp>
        <p:nvSpPr>
          <p:cNvPr id="4" name="7-Point Star 3"/>
          <p:cNvSpPr/>
          <p:nvPr/>
        </p:nvSpPr>
        <p:spPr>
          <a:xfrm>
            <a:off x="1473957" y="1965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7-Point Star 5"/>
          <p:cNvSpPr/>
          <p:nvPr/>
        </p:nvSpPr>
        <p:spPr>
          <a:xfrm>
            <a:off x="1626357" y="2786425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7-Point Star 6"/>
          <p:cNvSpPr/>
          <p:nvPr/>
        </p:nvSpPr>
        <p:spPr>
          <a:xfrm>
            <a:off x="2583960" y="2442949"/>
            <a:ext cx="163773" cy="243668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7-Point Star 7"/>
          <p:cNvSpPr/>
          <p:nvPr/>
        </p:nvSpPr>
        <p:spPr>
          <a:xfrm>
            <a:off x="8275091" y="4781272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7-Point Star 9"/>
          <p:cNvSpPr/>
          <p:nvPr/>
        </p:nvSpPr>
        <p:spPr>
          <a:xfrm>
            <a:off x="6830689" y="3906944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7-Point Star 11"/>
          <p:cNvSpPr/>
          <p:nvPr/>
        </p:nvSpPr>
        <p:spPr>
          <a:xfrm>
            <a:off x="4571835" y="257215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7-Point Star 12"/>
          <p:cNvSpPr/>
          <p:nvPr/>
        </p:nvSpPr>
        <p:spPr>
          <a:xfrm>
            <a:off x="3978174" y="2639711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7-Point Star 13"/>
          <p:cNvSpPr/>
          <p:nvPr/>
        </p:nvSpPr>
        <p:spPr>
          <a:xfrm>
            <a:off x="4223834" y="2402003"/>
            <a:ext cx="163773" cy="243669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7-Point Star 14"/>
          <p:cNvSpPr/>
          <p:nvPr/>
        </p:nvSpPr>
        <p:spPr>
          <a:xfrm>
            <a:off x="4167001" y="4157426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7-Point Star 18"/>
          <p:cNvSpPr/>
          <p:nvPr/>
        </p:nvSpPr>
        <p:spPr>
          <a:xfrm>
            <a:off x="2438367" y="432288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30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0" y="6209732"/>
            <a:ext cx="9130055" cy="4462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300" b="1" dirty="0" smtClean="0">
                <a:solidFill>
                  <a:srgbClr val="C00000"/>
                </a:solidFill>
              </a:rPr>
              <a:t>2000 </a:t>
            </a:r>
            <a:r>
              <a:rPr lang="en-US" sz="2300" b="1" dirty="0">
                <a:solidFill>
                  <a:srgbClr val="C00000"/>
                </a:solidFill>
              </a:rPr>
              <a:t>– International Program Evaluation </a:t>
            </a:r>
            <a:r>
              <a:rPr lang="en-US" sz="2300" b="1" dirty="0" smtClean="0">
                <a:solidFill>
                  <a:srgbClr val="C00000"/>
                </a:solidFill>
              </a:rPr>
              <a:t>Network (IPEN)</a:t>
            </a:r>
            <a:endParaRPr lang="en-US" sz="2300" b="1" dirty="0">
              <a:solidFill>
                <a:srgbClr val="C00000"/>
              </a:solidFill>
            </a:endParaRPr>
          </a:p>
        </p:txBody>
      </p:sp>
      <p:sp>
        <p:nvSpPr>
          <p:cNvPr id="4" name="7-Point Star 3"/>
          <p:cNvSpPr/>
          <p:nvPr/>
        </p:nvSpPr>
        <p:spPr>
          <a:xfrm>
            <a:off x="1473957" y="1965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7-Point Star 4"/>
          <p:cNvSpPr/>
          <p:nvPr/>
        </p:nvSpPr>
        <p:spPr>
          <a:xfrm>
            <a:off x="5092889" y="3138130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7-Point Star 5"/>
          <p:cNvSpPr/>
          <p:nvPr/>
        </p:nvSpPr>
        <p:spPr>
          <a:xfrm>
            <a:off x="1626357" y="2786425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7-Point Star 6"/>
          <p:cNvSpPr/>
          <p:nvPr/>
        </p:nvSpPr>
        <p:spPr>
          <a:xfrm>
            <a:off x="2583960" y="2442949"/>
            <a:ext cx="163773" cy="243668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7-Point Star 7"/>
          <p:cNvSpPr/>
          <p:nvPr/>
        </p:nvSpPr>
        <p:spPr>
          <a:xfrm>
            <a:off x="8275091" y="4781272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7-Point Star 9"/>
          <p:cNvSpPr/>
          <p:nvPr/>
        </p:nvSpPr>
        <p:spPr>
          <a:xfrm>
            <a:off x="6830689" y="3906944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7-Point Star 11"/>
          <p:cNvSpPr/>
          <p:nvPr/>
        </p:nvSpPr>
        <p:spPr>
          <a:xfrm>
            <a:off x="4571835" y="257215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7-Point Star 12"/>
          <p:cNvSpPr/>
          <p:nvPr/>
        </p:nvSpPr>
        <p:spPr>
          <a:xfrm>
            <a:off x="3978174" y="2639711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7-Point Star 13"/>
          <p:cNvSpPr/>
          <p:nvPr/>
        </p:nvSpPr>
        <p:spPr>
          <a:xfrm>
            <a:off x="4223834" y="2402003"/>
            <a:ext cx="163773" cy="243669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7-Point Star 15"/>
          <p:cNvSpPr/>
          <p:nvPr/>
        </p:nvSpPr>
        <p:spPr>
          <a:xfrm>
            <a:off x="2463403" y="390550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7-Point Star 16"/>
          <p:cNvSpPr/>
          <p:nvPr/>
        </p:nvSpPr>
        <p:spPr>
          <a:xfrm>
            <a:off x="4471931" y="3566575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7-Point Star 17"/>
          <p:cNvSpPr/>
          <p:nvPr/>
        </p:nvSpPr>
        <p:spPr>
          <a:xfrm>
            <a:off x="6303005" y="3832146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7-Point Star 18"/>
          <p:cNvSpPr/>
          <p:nvPr/>
        </p:nvSpPr>
        <p:spPr>
          <a:xfrm>
            <a:off x="6093797" y="2081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7-Point Star 19"/>
          <p:cNvSpPr/>
          <p:nvPr/>
        </p:nvSpPr>
        <p:spPr>
          <a:xfrm>
            <a:off x="4167001" y="4157426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7-Point Star 20"/>
          <p:cNvSpPr/>
          <p:nvPr/>
        </p:nvSpPr>
        <p:spPr>
          <a:xfrm>
            <a:off x="4571835" y="257215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7-Point Star 21"/>
          <p:cNvSpPr/>
          <p:nvPr/>
        </p:nvSpPr>
        <p:spPr>
          <a:xfrm>
            <a:off x="4901659" y="1987561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7-Point Star 22"/>
          <p:cNvSpPr/>
          <p:nvPr/>
        </p:nvSpPr>
        <p:spPr>
          <a:xfrm>
            <a:off x="4383035" y="272455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7-Point Star 23"/>
          <p:cNvSpPr/>
          <p:nvPr/>
        </p:nvSpPr>
        <p:spPr>
          <a:xfrm>
            <a:off x="2438367" y="432288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onut 8"/>
          <p:cNvSpPr/>
          <p:nvPr/>
        </p:nvSpPr>
        <p:spPr>
          <a:xfrm>
            <a:off x="5638800" y="1600200"/>
            <a:ext cx="1355662" cy="1219200"/>
          </a:xfrm>
          <a:prstGeom prst="donut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615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4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9" grpId="0" animBg="1"/>
      <p:bldP spid="9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6478" y="6086900"/>
            <a:ext cx="899357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2004 </a:t>
            </a:r>
            <a:r>
              <a:rPr lang="en-US" sz="2000" b="1" dirty="0"/>
              <a:t>– </a:t>
            </a:r>
            <a:r>
              <a:rPr lang="en-US" sz="2000" b="1" dirty="0" smtClean="0"/>
              <a:t>ReLAC (</a:t>
            </a:r>
            <a:r>
              <a:rPr lang="es-ES" b="1" dirty="0" smtClean="0"/>
              <a:t>Red </a:t>
            </a:r>
            <a:r>
              <a:rPr lang="es-ES" b="1" dirty="0"/>
              <a:t>de Seguimiento, </a:t>
            </a:r>
            <a:r>
              <a:rPr lang="es-ES" b="1" dirty="0" smtClean="0"/>
              <a:t>Evaluación </a:t>
            </a:r>
            <a:r>
              <a:rPr lang="es-ES" b="1" dirty="0"/>
              <a:t>y Sistematización en America Latina y el </a:t>
            </a:r>
            <a:r>
              <a:rPr lang="es-ES" b="1" dirty="0" smtClean="0"/>
              <a:t>Caribe)</a:t>
            </a:r>
            <a:endParaRPr lang="en-US" sz="2000" b="1" dirty="0"/>
          </a:p>
        </p:txBody>
      </p:sp>
      <p:sp>
        <p:nvSpPr>
          <p:cNvPr id="4" name="7-Point Star 3"/>
          <p:cNvSpPr/>
          <p:nvPr/>
        </p:nvSpPr>
        <p:spPr>
          <a:xfrm>
            <a:off x="1473957" y="1965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7-Point Star 4"/>
          <p:cNvSpPr/>
          <p:nvPr/>
        </p:nvSpPr>
        <p:spPr>
          <a:xfrm>
            <a:off x="5092889" y="3138130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7-Point Star 5"/>
          <p:cNvSpPr/>
          <p:nvPr/>
        </p:nvSpPr>
        <p:spPr>
          <a:xfrm>
            <a:off x="1626357" y="2786425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7-Point Star 7"/>
          <p:cNvSpPr/>
          <p:nvPr/>
        </p:nvSpPr>
        <p:spPr>
          <a:xfrm>
            <a:off x="8275091" y="4781272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7-Point Star 9"/>
          <p:cNvSpPr/>
          <p:nvPr/>
        </p:nvSpPr>
        <p:spPr>
          <a:xfrm>
            <a:off x="6830689" y="3906944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7-Point Star 11"/>
          <p:cNvSpPr/>
          <p:nvPr/>
        </p:nvSpPr>
        <p:spPr>
          <a:xfrm>
            <a:off x="4571835" y="257215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7-Point Star 12"/>
          <p:cNvSpPr/>
          <p:nvPr/>
        </p:nvSpPr>
        <p:spPr>
          <a:xfrm>
            <a:off x="3978174" y="2639711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7-Point Star 13"/>
          <p:cNvSpPr/>
          <p:nvPr/>
        </p:nvSpPr>
        <p:spPr>
          <a:xfrm>
            <a:off x="4223834" y="2402003"/>
            <a:ext cx="163773" cy="243669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7-Point Star 15"/>
          <p:cNvSpPr/>
          <p:nvPr/>
        </p:nvSpPr>
        <p:spPr>
          <a:xfrm>
            <a:off x="2463403" y="390550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7-Point Star 16"/>
          <p:cNvSpPr/>
          <p:nvPr/>
        </p:nvSpPr>
        <p:spPr>
          <a:xfrm>
            <a:off x="4471931" y="3566575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7-Point Star 17"/>
          <p:cNvSpPr/>
          <p:nvPr/>
        </p:nvSpPr>
        <p:spPr>
          <a:xfrm>
            <a:off x="6303005" y="3832146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7-Point Star 18"/>
          <p:cNvSpPr/>
          <p:nvPr/>
        </p:nvSpPr>
        <p:spPr>
          <a:xfrm>
            <a:off x="6093797" y="2081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7-Point Star 19"/>
          <p:cNvSpPr/>
          <p:nvPr/>
        </p:nvSpPr>
        <p:spPr>
          <a:xfrm>
            <a:off x="2074460" y="4484427"/>
            <a:ext cx="345727" cy="443558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7-Point Star 20"/>
          <p:cNvSpPr/>
          <p:nvPr/>
        </p:nvSpPr>
        <p:spPr>
          <a:xfrm>
            <a:off x="4167001" y="4157426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7-Point Star 21"/>
          <p:cNvSpPr/>
          <p:nvPr/>
        </p:nvSpPr>
        <p:spPr>
          <a:xfrm>
            <a:off x="4571835" y="257215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7-Point Star 22"/>
          <p:cNvSpPr/>
          <p:nvPr/>
        </p:nvSpPr>
        <p:spPr>
          <a:xfrm>
            <a:off x="4901659" y="1987561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7-Point Star 23"/>
          <p:cNvSpPr/>
          <p:nvPr/>
        </p:nvSpPr>
        <p:spPr>
          <a:xfrm>
            <a:off x="4383035" y="272455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7-Point Star 24"/>
          <p:cNvSpPr/>
          <p:nvPr/>
        </p:nvSpPr>
        <p:spPr>
          <a:xfrm>
            <a:off x="2438367" y="432288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7-Point Star 25"/>
          <p:cNvSpPr/>
          <p:nvPr/>
        </p:nvSpPr>
        <p:spPr>
          <a:xfrm>
            <a:off x="2583960" y="2442949"/>
            <a:ext cx="163773" cy="243668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24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6478" y="6168788"/>
            <a:ext cx="89935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/>
              <a:t>2008 </a:t>
            </a:r>
            <a:r>
              <a:rPr lang="en-US" sz="2000" b="1" dirty="0"/>
              <a:t>– Community of Evaluators South </a:t>
            </a:r>
            <a:r>
              <a:rPr lang="en-US" sz="2000" b="1" dirty="0" smtClean="0"/>
              <a:t>Asia (CoE/SA)</a:t>
            </a:r>
          </a:p>
        </p:txBody>
      </p:sp>
      <p:sp>
        <p:nvSpPr>
          <p:cNvPr id="4" name="7-Point Star 3"/>
          <p:cNvSpPr/>
          <p:nvPr/>
        </p:nvSpPr>
        <p:spPr>
          <a:xfrm>
            <a:off x="1473957" y="1965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7-Point Star 5"/>
          <p:cNvSpPr/>
          <p:nvPr/>
        </p:nvSpPr>
        <p:spPr>
          <a:xfrm>
            <a:off x="1626357" y="2786425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7-Point Star 6"/>
          <p:cNvSpPr/>
          <p:nvPr/>
        </p:nvSpPr>
        <p:spPr>
          <a:xfrm>
            <a:off x="2583960" y="2442949"/>
            <a:ext cx="163773" cy="243668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7-Point Star 7"/>
          <p:cNvSpPr/>
          <p:nvPr/>
        </p:nvSpPr>
        <p:spPr>
          <a:xfrm>
            <a:off x="8275091" y="4781272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7-Point Star 9"/>
          <p:cNvSpPr/>
          <p:nvPr/>
        </p:nvSpPr>
        <p:spPr>
          <a:xfrm>
            <a:off x="6830689" y="3906944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7-Point Star 12"/>
          <p:cNvSpPr/>
          <p:nvPr/>
        </p:nvSpPr>
        <p:spPr>
          <a:xfrm>
            <a:off x="3978174" y="2639711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7-Point Star 15"/>
          <p:cNvSpPr/>
          <p:nvPr/>
        </p:nvSpPr>
        <p:spPr>
          <a:xfrm>
            <a:off x="2463403" y="390550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7-Point Star 17"/>
          <p:cNvSpPr/>
          <p:nvPr/>
        </p:nvSpPr>
        <p:spPr>
          <a:xfrm>
            <a:off x="6303005" y="3832146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7-Point Star 18"/>
          <p:cNvSpPr/>
          <p:nvPr/>
        </p:nvSpPr>
        <p:spPr>
          <a:xfrm>
            <a:off x="6093797" y="2081273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7-Point Star 19"/>
          <p:cNvSpPr/>
          <p:nvPr/>
        </p:nvSpPr>
        <p:spPr>
          <a:xfrm>
            <a:off x="2074460" y="4484427"/>
            <a:ext cx="345727" cy="443558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7-Point Star 20"/>
          <p:cNvSpPr/>
          <p:nvPr/>
        </p:nvSpPr>
        <p:spPr>
          <a:xfrm>
            <a:off x="6052853" y="3870510"/>
            <a:ext cx="250152" cy="295136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7-Point Star 21"/>
          <p:cNvSpPr/>
          <p:nvPr/>
        </p:nvSpPr>
        <p:spPr>
          <a:xfrm>
            <a:off x="4167001" y="4157426"/>
            <a:ext cx="327546" cy="293427"/>
          </a:xfrm>
          <a:prstGeom prst="star7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7-Point Star 25"/>
          <p:cNvSpPr/>
          <p:nvPr/>
        </p:nvSpPr>
        <p:spPr>
          <a:xfrm>
            <a:off x="2438367" y="432288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7-Point Star 33"/>
          <p:cNvSpPr/>
          <p:nvPr/>
        </p:nvSpPr>
        <p:spPr>
          <a:xfrm>
            <a:off x="5092889" y="3138130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7-Point Star 34"/>
          <p:cNvSpPr/>
          <p:nvPr/>
        </p:nvSpPr>
        <p:spPr>
          <a:xfrm>
            <a:off x="4223834" y="2402003"/>
            <a:ext cx="163773" cy="243669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7-Point Star 35"/>
          <p:cNvSpPr/>
          <p:nvPr/>
        </p:nvSpPr>
        <p:spPr>
          <a:xfrm>
            <a:off x="4471931" y="3566575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7-Point Star 36"/>
          <p:cNvSpPr/>
          <p:nvPr/>
        </p:nvSpPr>
        <p:spPr>
          <a:xfrm>
            <a:off x="4571835" y="257215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7-Point Star 37"/>
          <p:cNvSpPr/>
          <p:nvPr/>
        </p:nvSpPr>
        <p:spPr>
          <a:xfrm>
            <a:off x="4901659" y="1987561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7-Point Star 38"/>
          <p:cNvSpPr/>
          <p:nvPr/>
        </p:nvSpPr>
        <p:spPr>
          <a:xfrm>
            <a:off x="4383035" y="2724553"/>
            <a:ext cx="163773" cy="146714"/>
          </a:xfrm>
          <a:prstGeom prst="star7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23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62035863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57200"/>
            <a:ext cx="8229600" cy="1066800"/>
          </a:xfrm>
        </p:spPr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7030A0"/>
                </a:solidFill>
                <a:latin typeface="Arial" charset="0"/>
              </a:rPr>
              <a:t>EvalPartners: Why now?</a:t>
            </a:r>
            <a:endParaRPr lang="en-US" sz="3600" dirty="0">
              <a:solidFill>
                <a:srgbClr val="7030A0"/>
              </a:solidFill>
              <a:latin typeface="Arial" charset="0"/>
            </a:endParaRPr>
          </a:p>
        </p:txBody>
      </p:sp>
      <p:sp>
        <p:nvSpPr>
          <p:cNvPr id="17411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646237"/>
            <a:ext cx="8229600" cy="4525963"/>
          </a:xfrm>
        </p:spPr>
        <p:txBody>
          <a:bodyPr/>
          <a:lstStyle/>
          <a:p>
            <a:r>
              <a:rPr lang="en-GB" sz="2800" dirty="0" smtClean="0">
                <a:latin typeface="Times New Roman" pitchFamily="18" charset="0"/>
                <a:cs typeface="Times New Roman" pitchFamily="18" charset="0"/>
              </a:rPr>
              <a:t>Recognition of significant growth and existing expertise</a:t>
            </a:r>
          </a:p>
          <a:p>
            <a:r>
              <a:rPr lang="en-GB" sz="2800" dirty="0" smtClean="0">
                <a:latin typeface="Times New Roman" pitchFamily="18" charset="0"/>
                <a:cs typeface="Times New Roman" pitchFamily="18" charset="0"/>
              </a:rPr>
              <a:t>From </a:t>
            </a:r>
            <a:r>
              <a:rPr lang="en-GB" sz="2800" dirty="0">
                <a:latin typeface="Times New Roman" pitchFamily="18" charset="0"/>
                <a:cs typeface="Times New Roman" pitchFamily="18" charset="0"/>
              </a:rPr>
              <a:t>Paris “Declaration on Aid effectiveness” to Busan “Partnership for effective development cooperation” </a:t>
            </a:r>
            <a:endParaRPr lang="en-US" sz="28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GB" sz="2800" dirty="0">
                <a:latin typeface="Times New Roman" pitchFamily="18" charset="0"/>
                <a:cs typeface="Times New Roman" pitchFamily="18" charset="0"/>
              </a:rPr>
              <a:t>The role of Civil society organizations (CSO) in National Evaluation Systems</a:t>
            </a:r>
            <a:endParaRPr lang="en-US" sz="2800" dirty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An initiative to strengthen </a:t>
            </a:r>
            <a:r>
              <a:rPr lang="en-US" sz="2800" dirty="0" smtClean="0">
                <a:latin typeface="Times New Roman" pitchFamily="18" charset="0"/>
                <a:cs typeface="Times New Roman" pitchFamily="18" charset="0"/>
              </a:rPr>
              <a:t>equity-focused and gender-responsive Country-led </a:t>
            </a:r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Evaluation Systems through wider partnership and use of innovation</a:t>
            </a:r>
          </a:p>
          <a:p>
            <a:endParaRPr lang="en-GB" sz="24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8623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" y="5817745"/>
            <a:ext cx="2466975" cy="104775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96288" y="1856087"/>
            <a:ext cx="72606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 smtClean="0"/>
              <a:t>See existing interactive world map and database of global VOPEs at</a:t>
            </a:r>
          </a:p>
          <a:p>
            <a:pPr algn="ctr"/>
            <a:endParaRPr lang="en-US" sz="3200" dirty="0"/>
          </a:p>
          <a:p>
            <a:pPr algn="ctr"/>
            <a:r>
              <a:rPr lang="en-US" sz="4800" dirty="0" smtClean="0">
                <a:hlinkClick r:id="rId4"/>
              </a:rPr>
              <a:t>www.IOCE.net</a:t>
            </a:r>
            <a:r>
              <a:rPr lang="en-US" sz="4800" dirty="0" smtClean="0"/>
              <a:t> </a:t>
            </a:r>
            <a:endParaRPr lang="en-US" sz="4800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163762"/>
            <a:ext cx="8229600" cy="808630"/>
          </a:xfrm>
        </p:spPr>
        <p:txBody>
          <a:bodyPr/>
          <a:lstStyle/>
          <a:p>
            <a:r>
              <a:rPr lang="en-US" sz="3200" b="1" dirty="0" smtClean="0">
                <a:ea typeface="Tahoma" pitchFamily="34" charset="0"/>
                <a:cs typeface="Tahoma" pitchFamily="34" charset="0"/>
              </a:rPr>
              <a:t>Mapping the status of VOPEs</a:t>
            </a:r>
            <a:endParaRPr lang="en-US" sz="3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3473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18880"/>
            <a:ext cx="8229600" cy="4135272"/>
          </a:xfrm>
        </p:spPr>
        <p:txBody>
          <a:bodyPr/>
          <a:lstStyle/>
          <a:p>
            <a:r>
              <a:rPr lang="en-US" dirty="0" smtClean="0"/>
              <a:t>That amazing growth of the evaluation profession is more succinctly summarized in the following bar graph …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" y="5817745"/>
            <a:ext cx="2466975" cy="104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830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23264815"/>
              </p:ext>
            </p:extLst>
          </p:nvPr>
        </p:nvGraphicFramePr>
        <p:xfrm>
          <a:off x="122831" y="1091821"/>
          <a:ext cx="8871044" cy="5431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59558" y="327546"/>
            <a:ext cx="820230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>
                <a:solidFill>
                  <a:srgbClr val="7030A0"/>
                </a:solidFill>
              </a:rPr>
              <a:t>Cumulative number of VOPEs in existence, by year </a:t>
            </a:r>
            <a:r>
              <a:rPr lang="en-US" sz="2400" dirty="0" smtClean="0">
                <a:solidFill>
                  <a:srgbClr val="7030A0"/>
                </a:solidFill>
              </a:rPr>
              <a:t>(only including those reporting year of formation)</a:t>
            </a:r>
            <a:endParaRPr lang="en-US" sz="280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9915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3762"/>
            <a:ext cx="8229600" cy="808630"/>
          </a:xfrm>
        </p:spPr>
        <p:txBody>
          <a:bodyPr/>
          <a:lstStyle/>
          <a:p>
            <a:pPr fontAlgn="b"/>
            <a:r>
              <a:rPr lang="en-US" sz="3200" b="1" u="sng" dirty="0">
                <a:solidFill>
                  <a:srgbClr val="0070C0"/>
                </a:solidFill>
              </a:rPr>
              <a:t>EvalPartners VOPE survey by the numbers</a:t>
            </a:r>
            <a:endParaRPr lang="en-US" sz="3200" b="1" u="sng" dirty="0">
              <a:solidFill>
                <a:srgbClr val="0070C0"/>
              </a:solidFill>
              <a:latin typeface="Verdana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" y="5817745"/>
            <a:ext cx="2466975" cy="1047750"/>
          </a:xfrm>
          <a:prstGeom prst="rect">
            <a:avLst/>
          </a:prstGeom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743427"/>
              </p:ext>
            </p:extLst>
          </p:nvPr>
        </p:nvGraphicFramePr>
        <p:xfrm>
          <a:off x="304800" y="1395479"/>
          <a:ext cx="8610600" cy="36703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21392"/>
                <a:gridCol w="2189208"/>
              </a:tblGrid>
              <a:tr h="552042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solidFill>
                            <a:srgbClr val="7030A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ountries in which we have some VOPE contact</a:t>
                      </a:r>
                      <a:r>
                        <a:rPr lang="en-US" sz="2400" b="1" u="none" strike="noStrike" baseline="0" dirty="0" smtClean="0">
                          <a:solidFill>
                            <a:srgbClr val="7030A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information:</a:t>
                      </a:r>
                      <a:endParaRPr lang="en-US" sz="2400" b="1" i="0" u="none" strike="noStrike" dirty="0">
                        <a:solidFill>
                          <a:srgbClr val="7030A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 smtClean="0">
                          <a:solidFill>
                            <a:srgbClr val="7030A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0</a:t>
                      </a:r>
                      <a:endParaRPr lang="en-US" sz="2400" b="1" i="0" u="none" strike="noStrike" dirty="0">
                        <a:solidFill>
                          <a:srgbClr val="7030A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552042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 smtClean="0">
                          <a:solidFill>
                            <a:srgbClr val="7030A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umber</a:t>
                      </a:r>
                      <a:r>
                        <a:rPr lang="en-US" sz="2400" b="1" u="none" strike="noStrike" baseline="0" dirty="0" smtClean="0">
                          <a:solidFill>
                            <a:srgbClr val="7030A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of national VOPEs heard of</a:t>
                      </a:r>
                      <a:r>
                        <a:rPr lang="en-US" sz="2400" b="1" u="none" strike="noStrike" dirty="0" smtClean="0">
                          <a:solidFill>
                            <a:srgbClr val="7030A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:</a:t>
                      </a:r>
                      <a:endParaRPr lang="en-US" sz="2400" b="1" i="0" u="none" strike="noStrike" dirty="0">
                        <a:solidFill>
                          <a:srgbClr val="7030A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dirty="0" smtClean="0">
                          <a:solidFill>
                            <a:srgbClr val="7030A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1</a:t>
                      </a:r>
                      <a:endParaRPr lang="en-US" sz="2400" b="0" i="0" u="none" strike="noStrike" dirty="0">
                        <a:solidFill>
                          <a:srgbClr val="7030A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552042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Number of national VOPEs </a:t>
                      </a:r>
                      <a:r>
                        <a:rPr lang="en-US" sz="2400" b="1" i="1" u="sng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verified</a:t>
                      </a:r>
                      <a:r>
                        <a:rPr lang="en-US" sz="2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algn="r" fontAlgn="b"/>
                      <a:r>
                        <a:rPr lang="en-US" sz="2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(survey responses and/or websites):</a:t>
                      </a:r>
                      <a:endParaRPr lang="en-US" sz="2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3</a:t>
                      </a:r>
                      <a:endParaRPr lang="en-US" sz="24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552042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i="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Number of countries with verified</a:t>
                      </a:r>
                      <a:r>
                        <a:rPr lang="en-US" sz="2400" b="1" i="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 VOPEs: </a:t>
                      </a:r>
                      <a:endParaRPr lang="en-US" sz="2400" b="1" i="0" u="none" strike="noStrike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i="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91</a:t>
                      </a:r>
                      <a:endParaRPr lang="en-US" sz="2400" b="1" i="0" u="none" strike="noStrike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552042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0" i="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Regional and international VOPEs:</a:t>
                      </a:r>
                      <a:endParaRPr lang="en-US" sz="2400" b="0" i="0" u="none" strike="noStrike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23</a:t>
                      </a:r>
                      <a:endParaRPr lang="en-US" sz="2400" b="0" i="0" u="none" strike="noStrike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532108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0" i="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Total Verified </a:t>
                      </a:r>
                      <a:r>
                        <a:rPr lang="en-US" sz="2400" b="0" i="0" u="none" strike="noStrike" baseline="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VOPEs :</a:t>
                      </a:r>
                      <a:endParaRPr lang="en-US" sz="2400" b="0" i="0" u="none" strike="noStrike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27</a:t>
                      </a:r>
                      <a:endParaRPr lang="en-US" sz="2400" b="0" i="0" u="none" strike="noStrike" dirty="0"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895600" y="5983069"/>
            <a:ext cx="6096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ote: these numbers constantly change as new information is received.  These numbers as of  Sept. 2013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494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024" y="532260"/>
            <a:ext cx="8229600" cy="972403"/>
          </a:xfrm>
        </p:spPr>
        <p:txBody>
          <a:bodyPr>
            <a:normAutofit fontScale="90000"/>
          </a:bodyPr>
          <a:lstStyle/>
          <a:p>
            <a:r>
              <a:rPr lang="en-US" sz="4400" dirty="0" smtClean="0"/>
              <a:t>Current membership numbers reported</a:t>
            </a:r>
            <a:r>
              <a:rPr lang="en-US" sz="2700" dirty="0" smtClean="0"/>
              <a:t> (including overlaps)(multiple memberships)</a:t>
            </a:r>
            <a:endParaRPr lang="en-US" sz="27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7395413"/>
              </p:ext>
            </p:extLst>
          </p:nvPr>
        </p:nvGraphicFramePr>
        <p:xfrm>
          <a:off x="489042" y="1600200"/>
          <a:ext cx="8350158" cy="5250749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410955"/>
                <a:gridCol w="1939203"/>
              </a:tblGrid>
              <a:tr h="5977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AEA</a:t>
                      </a:r>
                      <a:r>
                        <a:rPr lang="en-US" sz="24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 (USA)</a:t>
                      </a:r>
                      <a:endParaRPr lang="en-US" sz="2800" b="0" i="0" u="none" strike="noStrike" dirty="0">
                        <a:solidFill>
                          <a:schemeClr val="tx1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7,550</a:t>
                      </a:r>
                      <a:endParaRPr lang="en-US" sz="28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solidFill>
                      <a:schemeClr val="bg2"/>
                    </a:solidFill>
                  </a:tcPr>
                </a:tc>
              </a:tr>
              <a:tr h="5977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b="1" u="none" strike="noStrike" dirty="0" smtClean="0">
                          <a:effectLst/>
                        </a:rPr>
                        <a:t>ReLAC</a:t>
                      </a:r>
                      <a:r>
                        <a:rPr lang="en-US" sz="2800" u="none" strike="noStrike" dirty="0" smtClean="0">
                          <a:effectLst/>
                        </a:rPr>
                        <a:t> </a:t>
                      </a:r>
                      <a:r>
                        <a:rPr lang="en-US" sz="2400" u="none" strike="noStrike" dirty="0" smtClean="0">
                          <a:effectLst/>
                        </a:rPr>
                        <a:t>(Latin America</a:t>
                      </a:r>
                      <a:r>
                        <a:rPr lang="en-US" sz="2400" u="none" strike="noStrike" baseline="0" dirty="0" smtClean="0">
                          <a:effectLst/>
                        </a:rPr>
                        <a:t> &amp; Caribbean) </a:t>
                      </a:r>
                      <a:endParaRPr lang="en-US" sz="28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 smtClean="0">
                          <a:effectLst/>
                        </a:rPr>
                        <a:t>3,847</a:t>
                      </a:r>
                      <a:endParaRPr lang="en-US" sz="28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977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b="1" u="none" strike="noStrike" dirty="0" smtClean="0">
                          <a:effectLst/>
                        </a:rPr>
                        <a:t>BMEN</a:t>
                      </a:r>
                      <a:r>
                        <a:rPr lang="en-US" sz="2800" u="none" strike="noStrike" dirty="0" smtClean="0">
                          <a:effectLst/>
                        </a:rPr>
                        <a:t> </a:t>
                      </a:r>
                      <a:r>
                        <a:rPr lang="en-US" sz="2400" u="none" strike="noStrike" dirty="0" smtClean="0">
                          <a:effectLst/>
                        </a:rPr>
                        <a:t>(Brazil)</a:t>
                      </a:r>
                      <a:endParaRPr lang="en-US" sz="2800" b="0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 smtClean="0">
                          <a:effectLst/>
                        </a:rPr>
                        <a:t>3,519</a:t>
                      </a:r>
                      <a:endParaRPr lang="en-US" sz="28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5977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b="1" u="none" strike="noStrike" dirty="0">
                          <a:effectLst/>
                        </a:rPr>
                        <a:t>CES</a:t>
                      </a:r>
                      <a:r>
                        <a:rPr lang="en-US" sz="2800" u="none" strike="noStrike" dirty="0">
                          <a:effectLst/>
                        </a:rPr>
                        <a:t> </a:t>
                      </a:r>
                      <a:r>
                        <a:rPr lang="en-US" sz="2400" u="none" strike="noStrike" dirty="0" smtClean="0">
                          <a:effectLst/>
                        </a:rPr>
                        <a:t>(Canada)</a:t>
                      </a:r>
                      <a:endParaRPr lang="en-US" sz="2800" b="0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 smtClean="0">
                          <a:effectLst/>
                        </a:rPr>
                        <a:t>2,016</a:t>
                      </a:r>
                      <a:endParaRPr lang="en-US" sz="28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977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b="1" u="none" strike="noStrike" dirty="0" smtClean="0">
                          <a:effectLst/>
                        </a:rPr>
                        <a:t>AES</a:t>
                      </a:r>
                      <a:r>
                        <a:rPr lang="en-US" sz="2800" u="none" strike="noStrike" dirty="0" smtClean="0">
                          <a:effectLst/>
                        </a:rPr>
                        <a:t> </a:t>
                      </a:r>
                      <a:r>
                        <a:rPr lang="en-US" sz="2400" u="none" strike="noStrike" dirty="0" smtClean="0">
                          <a:effectLst/>
                        </a:rPr>
                        <a:t>(Australasia)</a:t>
                      </a:r>
                      <a:endParaRPr lang="en-US" sz="28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u="none" strike="noStrike" dirty="0" smtClean="0">
                          <a:effectLst/>
                        </a:rPr>
                        <a:t>1,034</a:t>
                      </a:r>
                      <a:endParaRPr lang="en-US" sz="28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97707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b="1" u="none" strike="noStrike" dirty="0" smtClean="0">
                          <a:effectLst/>
                        </a:rPr>
                        <a:t>DeGEval</a:t>
                      </a:r>
                      <a:r>
                        <a:rPr lang="en-US" sz="2400" u="none" strike="noStrike" dirty="0" smtClean="0">
                          <a:effectLst/>
                        </a:rPr>
                        <a:t> (Germany &amp; Austria)</a:t>
                      </a:r>
                      <a:endParaRPr lang="en-US" sz="2800" b="0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0" i="0" u="none" strike="noStrike" dirty="0" smtClean="0">
                          <a:effectLst/>
                          <a:latin typeface="Times New Roman"/>
                        </a:rPr>
                        <a:t>722</a:t>
                      </a:r>
                      <a:endParaRPr lang="en-US" sz="2800" b="0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97707">
                <a:tc>
                  <a:txBody>
                    <a:bodyPr/>
                    <a:lstStyle/>
                    <a:p>
                      <a:r>
                        <a:rPr lang="en-US" sz="2800" i="1" dirty="0" smtClean="0"/>
                        <a:t>All others reporting</a:t>
                      </a:r>
                      <a:endParaRPr lang="en-US" sz="28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u="sng" dirty="0" smtClean="0"/>
                        <a:t>18,039</a:t>
                      </a:r>
                    </a:p>
                  </a:txBody>
                  <a:tcPr/>
                </a:tc>
              </a:tr>
              <a:tr h="617400">
                <a:tc>
                  <a:txBody>
                    <a:bodyPr/>
                    <a:lstStyle/>
                    <a:p>
                      <a:r>
                        <a:rPr lang="en-US" sz="3200" b="1" dirty="0" smtClean="0"/>
                        <a:t>Total aggregate reported membership numbers:</a:t>
                      </a:r>
                      <a:endParaRPr lang="en-US" sz="3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b="1" dirty="0" smtClean="0"/>
                        <a:t>36,727</a:t>
                      </a:r>
                      <a:endParaRPr lang="en-US" sz="3200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7506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4024" y="532260"/>
            <a:ext cx="8229600" cy="972403"/>
          </a:xfrm>
        </p:spPr>
        <p:txBody>
          <a:bodyPr>
            <a:normAutofit fontScale="90000"/>
          </a:bodyPr>
          <a:lstStyle/>
          <a:p>
            <a:r>
              <a:rPr lang="en-US" sz="4400" dirty="0" smtClean="0"/>
              <a:t>How formally organized are these VOPEs?</a:t>
            </a:r>
            <a:endParaRPr lang="en-US" sz="4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6230206"/>
              </p:ext>
            </p:extLst>
          </p:nvPr>
        </p:nvGraphicFramePr>
        <p:xfrm>
          <a:off x="228600" y="1751848"/>
          <a:ext cx="8763000" cy="478750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727920"/>
                <a:gridCol w="2035080"/>
              </a:tblGrid>
              <a:tr h="5606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2400" b="0" i="1" u="none" strike="noStrike" dirty="0" smtClean="0">
                          <a:effectLst/>
                          <a:latin typeface="Verdana"/>
                        </a:rPr>
                        <a:t>Types of organization (global data)</a:t>
                      </a:r>
                      <a:endParaRPr lang="en-US" sz="2400" b="0" i="1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2400" b="0" i="1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60648">
                <a:tc>
                  <a:txBody>
                    <a:bodyPr/>
                    <a:lstStyle/>
                    <a:p>
                      <a:pPr algn="l" fontAlgn="ctr"/>
                      <a:endParaRPr lang="en-US" sz="28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28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606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b="1" i="0" u="none" strike="noStrike" dirty="0" smtClean="0">
                          <a:effectLst/>
                          <a:latin typeface="Verdana"/>
                        </a:rPr>
                        <a:t>Informal networks</a:t>
                      </a:r>
                      <a:endParaRPr lang="en-US" sz="28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 dirty="0" smtClean="0">
                          <a:effectLst/>
                          <a:latin typeface="Times New Roman"/>
                        </a:rPr>
                        <a:t>39%</a:t>
                      </a:r>
                      <a:endParaRPr lang="en-US" sz="28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60648">
                <a:tc>
                  <a:txBody>
                    <a:bodyPr/>
                    <a:lstStyle/>
                    <a:p>
                      <a:pPr algn="l" fontAlgn="ctr"/>
                      <a:endParaRPr lang="en-US" sz="28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28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5606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b="1" i="0" u="none" strike="noStrike" dirty="0" smtClean="0">
                          <a:effectLst/>
                          <a:latin typeface="Verdana"/>
                        </a:rPr>
                        <a:t>Charter &amp; bylaws adopted</a:t>
                      </a:r>
                      <a:endParaRPr lang="en-US" sz="28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 dirty="0" smtClean="0">
                          <a:effectLst/>
                          <a:latin typeface="Times New Roman"/>
                        </a:rPr>
                        <a:t>13%</a:t>
                      </a:r>
                      <a:endParaRPr lang="en-US" sz="28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606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i="1" dirty="0" smtClean="0"/>
                        <a:t>(but</a:t>
                      </a:r>
                      <a:r>
                        <a:rPr lang="en-US" sz="2800" i="1" baseline="0" dirty="0" smtClean="0"/>
                        <a:t> not officially recognized by govt.)</a:t>
                      </a:r>
                      <a:endParaRPr lang="en-US" sz="28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28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60648">
                <a:tc>
                  <a:txBody>
                    <a:bodyPr/>
                    <a:lstStyle/>
                    <a:p>
                      <a:pPr algn="l" fontAlgn="ctr"/>
                      <a:r>
                        <a:rPr lang="en-US" sz="2800" b="1" i="0" u="none" strike="noStrike" dirty="0" smtClean="0">
                          <a:effectLst/>
                          <a:latin typeface="Verdana"/>
                        </a:rPr>
                        <a:t>Legally recognized by government</a:t>
                      </a:r>
                      <a:endParaRPr lang="en-US" sz="28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800" b="1" i="0" u="none" strike="noStrike" dirty="0" smtClean="0">
                          <a:effectLst/>
                          <a:latin typeface="Times New Roman"/>
                        </a:rPr>
                        <a:t>47%</a:t>
                      </a:r>
                      <a:endParaRPr lang="en-US" sz="2800" b="1" i="0" u="none" strike="noStrike" dirty="0"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</a:tr>
              <a:tr h="560648">
                <a:tc>
                  <a:txBody>
                    <a:bodyPr/>
                    <a:lstStyle/>
                    <a:p>
                      <a:r>
                        <a:rPr lang="en-US" sz="2800" i="1" dirty="0" smtClean="0"/>
                        <a:t>(presumably charter &amp; bylaws</a:t>
                      </a:r>
                      <a:r>
                        <a:rPr lang="en-US" sz="2800" i="1" baseline="0" dirty="0" smtClean="0"/>
                        <a:t> included)</a:t>
                      </a:r>
                      <a:endParaRPr lang="en-US" sz="28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800" u="sng" dirty="0" smtClean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7597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25423"/>
            <a:ext cx="8229600" cy="276962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200" dirty="0" smtClean="0">
                <a:solidFill>
                  <a:schemeClr val="tx1"/>
                </a:solidFill>
                <a:latin typeface="+mn-lt"/>
                <a:ea typeface="Tahoma" pitchFamily="34" charset="0"/>
                <a:cs typeface="Tahoma" pitchFamily="34" charset="0"/>
              </a:rPr>
              <a:t>An important component of the </a:t>
            </a:r>
            <a:r>
              <a:rPr lang="en-US" sz="3200" b="1" dirty="0" smtClean="0">
                <a:solidFill>
                  <a:srgbClr val="CC6600"/>
                </a:solidFill>
                <a:latin typeface="+mn-lt"/>
                <a:ea typeface="Tahoma" pitchFamily="34" charset="0"/>
                <a:cs typeface="Tahoma" pitchFamily="34" charset="0"/>
              </a:rPr>
              <a:t>EvalPartners</a:t>
            </a:r>
            <a:r>
              <a:rPr lang="en-US" sz="3200" dirty="0" smtClean="0">
                <a:solidFill>
                  <a:schemeClr val="tx1"/>
                </a:solidFill>
                <a:latin typeface="+mn-lt"/>
                <a:ea typeface="Tahoma" pitchFamily="34" charset="0"/>
                <a:cs typeface="Tahoma" pitchFamily="34" charset="0"/>
              </a:rPr>
              <a:t> mapping survey has been to find out what VOPEs are doing to promote ECD in general, and governmental policies and the “demand side” for evaluation in particular.</a:t>
            </a:r>
            <a:endParaRPr lang="en-US" sz="3200" dirty="0">
              <a:solidFill>
                <a:schemeClr val="tx1"/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" y="5804097"/>
            <a:ext cx="2466975" cy="104775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200" y="873458"/>
            <a:ext cx="8229600" cy="808630"/>
          </a:xfrm>
        </p:spPr>
        <p:txBody>
          <a:bodyPr>
            <a:normAutofit fontScale="90000"/>
          </a:bodyPr>
          <a:lstStyle/>
          <a:p>
            <a:r>
              <a:rPr lang="en-US" sz="3200" b="1" dirty="0" smtClean="0">
                <a:ea typeface="Tahoma" pitchFamily="34" charset="0"/>
                <a:cs typeface="Tahoma" pitchFamily="34" charset="0"/>
              </a:rPr>
              <a:t>How VOPEs are addressing “the evaluation environment” in their countries</a:t>
            </a:r>
            <a:endParaRPr lang="en-US" sz="3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40987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73458"/>
            <a:ext cx="8229600" cy="808630"/>
          </a:xfrm>
        </p:spPr>
        <p:txBody>
          <a:bodyPr>
            <a:normAutofit fontScale="90000"/>
          </a:bodyPr>
          <a:lstStyle/>
          <a:p>
            <a:r>
              <a:rPr lang="en-US" sz="3200" b="1" dirty="0" smtClean="0">
                <a:ea typeface="Tahoma" pitchFamily="34" charset="0"/>
                <a:cs typeface="Tahoma" pitchFamily="34" charset="0"/>
              </a:rPr>
              <a:t>How VOPEs are addressing “the evaluation environment” in their countries</a:t>
            </a:r>
            <a:endParaRPr lang="en-US" sz="32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01" y="5817745"/>
            <a:ext cx="2466975" cy="1047750"/>
          </a:xfrm>
          <a:prstGeom prst="rect">
            <a:avLst/>
          </a:prstGeom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6551754"/>
              </p:ext>
            </p:extLst>
          </p:nvPr>
        </p:nvGraphicFramePr>
        <p:xfrm>
          <a:off x="554366" y="2125632"/>
          <a:ext cx="8132435" cy="34702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537297"/>
                <a:gridCol w="1106454"/>
                <a:gridCol w="1488684"/>
              </a:tblGrid>
              <a:tr h="727010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2400" b="1" u="sng" strike="noStrike" dirty="0">
                          <a:solidFill>
                            <a:srgbClr val="0070C0"/>
                          </a:solidFill>
                          <a:effectLst/>
                        </a:rPr>
                        <a:t>A wide range of involvement in </a:t>
                      </a:r>
                      <a:r>
                        <a:rPr lang="en-US" sz="2400" b="1" u="sng" strike="noStrike" dirty="0" smtClean="0">
                          <a:solidFill>
                            <a:srgbClr val="0070C0"/>
                          </a:solidFill>
                          <a:effectLst/>
                        </a:rPr>
                        <a:t>policy </a:t>
                      </a:r>
                      <a:r>
                        <a:rPr lang="en-US" sz="2400" b="1" u="sng" strike="noStrike" dirty="0">
                          <a:solidFill>
                            <a:srgbClr val="0070C0"/>
                          </a:solidFill>
                          <a:effectLst/>
                        </a:rPr>
                        <a:t>advocacy</a:t>
                      </a:r>
                      <a:r>
                        <a:rPr lang="en-US" sz="2400" b="1" u="sng" strike="noStrike" dirty="0" smtClean="0">
                          <a:solidFill>
                            <a:srgbClr val="0070C0"/>
                          </a:solidFill>
                          <a:effectLst/>
                        </a:rPr>
                        <a:t>:</a:t>
                      </a:r>
                      <a:r>
                        <a:rPr lang="en-US" sz="2000" b="1" u="none" strike="noStrike" dirty="0">
                          <a:effectLst/>
                        </a:rPr>
                        <a:t> </a:t>
                      </a:r>
                      <a:endParaRPr lang="en-US" sz="20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20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20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</a:tr>
              <a:tr h="548640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 dirty="0">
                          <a:effectLst/>
                        </a:rPr>
                        <a:t>Policy advocacy score = 10</a:t>
                      </a:r>
                      <a:endParaRPr lang="en-US" sz="24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>
                          <a:effectLst/>
                        </a:rPr>
                        <a:t>19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>
                          <a:effectLst/>
                        </a:rPr>
                        <a:t>29%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</a:tr>
              <a:tr h="548640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>
                          <a:effectLst/>
                        </a:rPr>
                        <a:t>Policy advocacy score between 5-9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>
                          <a:effectLst/>
                        </a:rPr>
                        <a:t>14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>
                          <a:effectLst/>
                        </a:rPr>
                        <a:t>21%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</a:tr>
              <a:tr h="548640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>
                          <a:effectLst/>
                        </a:rPr>
                        <a:t>Policy advocacy score between 1-4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>
                          <a:effectLst/>
                        </a:rPr>
                        <a:t>14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21%</a:t>
                      </a:r>
                      <a:endParaRPr lang="en-US" sz="24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</a:tr>
              <a:tr h="548640">
                <a:tc>
                  <a:txBody>
                    <a:bodyPr/>
                    <a:lstStyle/>
                    <a:p>
                      <a:pPr algn="r" fontAlgn="b"/>
                      <a:r>
                        <a:rPr lang="en-US" sz="2400" b="1" u="none" strike="noStrike">
                          <a:effectLst/>
                        </a:rPr>
                        <a:t>Policy advocacy score = 0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>
                          <a:effectLst/>
                        </a:rPr>
                        <a:t>19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>
                          <a:effectLst/>
                        </a:rPr>
                        <a:t>29%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</a:tr>
              <a:tr h="548640"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1" u="none" strike="noStrike">
                          <a:effectLst/>
                        </a:rPr>
                        <a:t> 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>
                          <a:effectLst/>
                        </a:rPr>
                        <a:t>66</a:t>
                      </a:r>
                      <a:endParaRPr lang="en-US" sz="2400" b="1" i="0" u="none" strike="noStrike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1" u="none" strike="noStrike" dirty="0">
                          <a:effectLst/>
                        </a:rPr>
                        <a:t>100%</a:t>
                      </a:r>
                      <a:endParaRPr lang="en-US" sz="2400" b="1" i="0" u="none" strike="noStrike" dirty="0">
                        <a:effectLst/>
                        <a:latin typeface="Verdana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5200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895600"/>
            <a:ext cx="7772400" cy="1470025"/>
          </a:xfrm>
        </p:spPr>
        <p:txBody>
          <a:bodyPr>
            <a:noAutofit/>
          </a:bodyPr>
          <a:lstStyle/>
          <a:p>
            <a:pPr algn="ctr"/>
            <a:r>
              <a:rPr lang="en-US" b="1" dirty="0" smtClean="0">
                <a:solidFill>
                  <a:srgbClr val="C00000"/>
                </a:solidFill>
              </a:rPr>
              <a:t>Peer-to-Peer (P2P) Program</a:t>
            </a:r>
            <a:br>
              <a:rPr lang="en-US" b="1" dirty="0" smtClean="0">
                <a:solidFill>
                  <a:srgbClr val="C00000"/>
                </a:solidFill>
              </a:rPr>
            </a:br>
            <a:r>
              <a:rPr lang="en-US" b="1" dirty="0" smtClean="0">
                <a:solidFill>
                  <a:srgbClr val="C00000"/>
                </a:solidFill>
              </a:rPr>
              <a:t>+ Innovation Challenge grants</a:t>
            </a:r>
            <a:endParaRPr lang="en-US" b="1" dirty="0">
              <a:solidFill>
                <a:srgbClr val="C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95400" y="4876800"/>
            <a:ext cx="6400800" cy="1752600"/>
          </a:xfrm>
        </p:spPr>
        <p:txBody>
          <a:bodyPr>
            <a:normAutofit lnSpcReduction="10000"/>
          </a:bodyPr>
          <a:lstStyle/>
          <a:p>
            <a:pPr algn="ctr"/>
            <a:r>
              <a:rPr lang="en-US" sz="4000" b="1" dirty="0" smtClean="0">
                <a:solidFill>
                  <a:srgbClr val="0070C0"/>
                </a:solidFill>
              </a:rPr>
              <a:t>Multiple mutually beneficial partnerships being formed!</a:t>
            </a:r>
            <a:endParaRPr lang="en-US" sz="4000" b="1" dirty="0">
              <a:solidFill>
                <a:srgbClr val="0070C0"/>
              </a:solidFill>
            </a:endParaRPr>
          </a:p>
        </p:txBody>
      </p:sp>
      <p:pic>
        <p:nvPicPr>
          <p:cNvPr id="5" name="Picture 4" descr="Description : logo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387926"/>
            <a:ext cx="2743200" cy="15170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3002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457 w 73"/>
              <a:gd name="T3" fmla="*/ 14288 h 20"/>
              <a:gd name="T4" fmla="*/ 1827 w 73"/>
              <a:gd name="T5" fmla="*/ 28575 h 20"/>
              <a:gd name="T6" fmla="*/ 3653 w 73"/>
              <a:gd name="T7" fmla="*/ 40005 h 20"/>
              <a:gd name="T8" fmla="*/ 5937 w 73"/>
              <a:gd name="T9" fmla="*/ 57150 h 20"/>
              <a:gd name="T10" fmla="*/ 7307 w 73"/>
              <a:gd name="T11" fmla="*/ 48578 h 20"/>
              <a:gd name="T12" fmla="*/ 8677 w 73"/>
              <a:gd name="T13" fmla="*/ 37148 h 20"/>
              <a:gd name="T14" fmla="*/ 10503 w 73"/>
              <a:gd name="T15" fmla="*/ 31433 h 20"/>
              <a:gd name="T16" fmla="*/ 12330 w 73"/>
              <a:gd name="T17" fmla="*/ 28575 h 20"/>
              <a:gd name="T18" fmla="*/ 16440 w 73"/>
              <a:gd name="T19" fmla="*/ 22860 h 20"/>
              <a:gd name="T20" fmla="*/ 21007 w 73"/>
              <a:gd name="T21" fmla="*/ 20003 h 20"/>
              <a:gd name="T22" fmla="*/ 24660 w 73"/>
              <a:gd name="T23" fmla="*/ 20003 h 20"/>
              <a:gd name="T24" fmla="*/ 28770 w 73"/>
              <a:gd name="T25" fmla="*/ 17145 h 20"/>
              <a:gd name="T26" fmla="*/ 30140 w 73"/>
              <a:gd name="T27" fmla="*/ 14288 h 20"/>
              <a:gd name="T28" fmla="*/ 31510 w 73"/>
              <a:gd name="T29" fmla="*/ 11430 h 20"/>
              <a:gd name="T30" fmla="*/ 32424 w 73"/>
              <a:gd name="T31" fmla="*/ 5715 h 20"/>
              <a:gd name="T32" fmla="*/ 3333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1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605085 w 1808"/>
              <a:gd name="T1" fmla="*/ 423521 h 850"/>
              <a:gd name="T2" fmla="*/ 604651 w 1808"/>
              <a:gd name="T3" fmla="*/ 395181 h 850"/>
              <a:gd name="T4" fmla="*/ 595543 w 1808"/>
              <a:gd name="T5" fmla="*/ 340076 h 850"/>
              <a:gd name="T6" fmla="*/ 573855 w 1808"/>
              <a:gd name="T7" fmla="*/ 336403 h 850"/>
              <a:gd name="T8" fmla="*/ 548263 w 1808"/>
              <a:gd name="T9" fmla="*/ 335353 h 850"/>
              <a:gd name="T10" fmla="*/ 491876 w 1808"/>
              <a:gd name="T11" fmla="*/ 305439 h 850"/>
              <a:gd name="T12" fmla="*/ 422041 w 1808"/>
              <a:gd name="T13" fmla="*/ 281823 h 850"/>
              <a:gd name="T14" fmla="*/ 409029 w 1808"/>
              <a:gd name="T15" fmla="*/ 264504 h 850"/>
              <a:gd name="T16" fmla="*/ 390811 w 1808"/>
              <a:gd name="T17" fmla="*/ 270802 h 850"/>
              <a:gd name="T18" fmla="*/ 368256 w 1808"/>
              <a:gd name="T19" fmla="*/ 299141 h 850"/>
              <a:gd name="T20" fmla="*/ 292783 w 1808"/>
              <a:gd name="T21" fmla="*/ 324857 h 850"/>
              <a:gd name="T22" fmla="*/ 294084 w 1808"/>
              <a:gd name="T23" fmla="*/ 303340 h 850"/>
              <a:gd name="T24" fmla="*/ 312736 w 1808"/>
              <a:gd name="T25" fmla="*/ 287596 h 850"/>
              <a:gd name="T26" fmla="*/ 340930 w 1808"/>
              <a:gd name="T27" fmla="*/ 286021 h 850"/>
              <a:gd name="T28" fmla="*/ 314037 w 1808"/>
              <a:gd name="T29" fmla="*/ 277099 h 850"/>
              <a:gd name="T30" fmla="*/ 250709 w 1808"/>
              <a:gd name="T31" fmla="*/ 309113 h 850"/>
              <a:gd name="T32" fmla="*/ 237263 w 1808"/>
              <a:gd name="T33" fmla="*/ 328006 h 850"/>
              <a:gd name="T34" fmla="*/ 228154 w 1808"/>
              <a:gd name="T35" fmla="*/ 341126 h 850"/>
              <a:gd name="T36" fmla="*/ 196056 w 1808"/>
              <a:gd name="T37" fmla="*/ 343225 h 850"/>
              <a:gd name="T38" fmla="*/ 166127 w 1808"/>
              <a:gd name="T39" fmla="*/ 368416 h 850"/>
              <a:gd name="T40" fmla="*/ 109306 w 1808"/>
              <a:gd name="T41" fmla="*/ 393607 h 850"/>
              <a:gd name="T42" fmla="*/ 45544 w 1808"/>
              <a:gd name="T43" fmla="*/ 423521 h 850"/>
              <a:gd name="T44" fmla="*/ 1735 w 1808"/>
              <a:gd name="T45" fmla="*/ 426670 h 850"/>
              <a:gd name="T46" fmla="*/ 6073 w 1808"/>
              <a:gd name="T47" fmla="*/ 414075 h 850"/>
              <a:gd name="T48" fmla="*/ 55087 w 1808"/>
              <a:gd name="T49" fmla="*/ 399380 h 850"/>
              <a:gd name="T50" fmla="*/ 114944 w 1808"/>
              <a:gd name="T51" fmla="*/ 365267 h 850"/>
              <a:gd name="T52" fmla="*/ 130126 w 1808"/>
              <a:gd name="T53" fmla="*/ 328531 h 850"/>
              <a:gd name="T54" fmla="*/ 109739 w 1808"/>
              <a:gd name="T55" fmla="*/ 344800 h 850"/>
              <a:gd name="T56" fmla="*/ 65063 w 1808"/>
              <a:gd name="T57" fmla="*/ 337452 h 850"/>
              <a:gd name="T58" fmla="*/ 74605 w 1808"/>
              <a:gd name="T59" fmla="*/ 320134 h 850"/>
              <a:gd name="T60" fmla="*/ 104101 w 1808"/>
              <a:gd name="T61" fmla="*/ 287071 h 850"/>
              <a:gd name="T62" fmla="*/ 65930 w 1808"/>
              <a:gd name="T63" fmla="*/ 301765 h 850"/>
              <a:gd name="T64" fmla="*/ 62027 w 1808"/>
              <a:gd name="T65" fmla="*/ 281298 h 850"/>
              <a:gd name="T66" fmla="*/ 150078 w 1808"/>
              <a:gd name="T67" fmla="*/ 199428 h 850"/>
              <a:gd name="T68" fmla="*/ 192586 w 1808"/>
              <a:gd name="T69" fmla="*/ 200477 h 850"/>
              <a:gd name="T70" fmla="*/ 246805 w 1808"/>
              <a:gd name="T71" fmla="*/ 183158 h 850"/>
              <a:gd name="T72" fmla="*/ 256782 w 1808"/>
              <a:gd name="T73" fmla="*/ 160592 h 850"/>
              <a:gd name="T74" fmla="*/ 219479 w 1808"/>
              <a:gd name="T75" fmla="*/ 173712 h 850"/>
              <a:gd name="T76" fmla="*/ 189984 w 1808"/>
              <a:gd name="T77" fmla="*/ 166889 h 850"/>
              <a:gd name="T78" fmla="*/ 204731 w 1808"/>
              <a:gd name="T79" fmla="*/ 150620 h 850"/>
              <a:gd name="T80" fmla="*/ 308398 w 1808"/>
              <a:gd name="T81" fmla="*/ 124905 h 850"/>
              <a:gd name="T82" fmla="*/ 324881 w 1808"/>
              <a:gd name="T83" fmla="*/ 110210 h 850"/>
              <a:gd name="T84" fmla="*/ 296687 w 1808"/>
              <a:gd name="T85" fmla="*/ 92366 h 850"/>
              <a:gd name="T86" fmla="*/ 320543 w 1808"/>
              <a:gd name="T87" fmla="*/ 57204 h 850"/>
              <a:gd name="T88" fmla="*/ 428548 w 1808"/>
              <a:gd name="T89" fmla="*/ 14170 h 850"/>
              <a:gd name="T90" fmla="*/ 501852 w 1808"/>
              <a:gd name="T91" fmla="*/ 4723 h 850"/>
              <a:gd name="T92" fmla="*/ 553902 w 1808"/>
              <a:gd name="T93" fmla="*/ 1050 h 850"/>
              <a:gd name="T94" fmla="*/ 587301 w 1808"/>
              <a:gd name="T95" fmla="*/ 5248 h 850"/>
              <a:gd name="T96" fmla="*/ 657569 w 1808"/>
              <a:gd name="T97" fmla="*/ 17844 h 850"/>
              <a:gd name="T98" fmla="*/ 763839 w 1808"/>
              <a:gd name="T99" fmla="*/ 21517 h 850"/>
              <a:gd name="T100" fmla="*/ 558240 w 1808"/>
              <a:gd name="T101" fmla="*/ 283397 h 850"/>
              <a:gd name="T102" fmla="*/ 572987 w 1808"/>
              <a:gd name="T103" fmla="*/ 299666 h 850"/>
              <a:gd name="T104" fmla="*/ 575590 w 1808"/>
              <a:gd name="T105" fmla="*/ 315410 h 850"/>
              <a:gd name="T106" fmla="*/ 599446 w 1808"/>
              <a:gd name="T107" fmla="*/ 314361 h 850"/>
              <a:gd name="T108" fmla="*/ 619833 w 1808"/>
              <a:gd name="T109" fmla="*/ 302815 h 850"/>
              <a:gd name="T110" fmla="*/ 639785 w 1808"/>
              <a:gd name="T111" fmla="*/ 350048 h 850"/>
              <a:gd name="T112" fmla="*/ 634147 w 1808"/>
              <a:gd name="T113" fmla="*/ 370515 h 850"/>
              <a:gd name="T114" fmla="*/ 628508 w 1808"/>
              <a:gd name="T115" fmla="*/ 389409 h 850"/>
              <a:gd name="T116" fmla="*/ 640653 w 1808"/>
              <a:gd name="T117" fmla="*/ 410926 h 850"/>
              <a:gd name="T118" fmla="*/ 640653 w 1808"/>
              <a:gd name="T119" fmla="*/ 425620 h 850"/>
              <a:gd name="T120" fmla="*/ 618531 w 1808"/>
              <a:gd name="T121" fmla="*/ 445038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2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1273680 w 3175"/>
              <a:gd name="T1" fmla="*/ 184639 h 1472"/>
              <a:gd name="T2" fmla="*/ 1259760 w 3175"/>
              <a:gd name="T3" fmla="*/ 230145 h 1472"/>
              <a:gd name="T4" fmla="*/ 1236705 w 3175"/>
              <a:gd name="T5" fmla="*/ 241652 h 1472"/>
              <a:gd name="T6" fmla="*/ 1160145 w 3175"/>
              <a:gd name="T7" fmla="*/ 296050 h 1472"/>
              <a:gd name="T8" fmla="*/ 1128825 w 3175"/>
              <a:gd name="T9" fmla="*/ 305988 h 1472"/>
              <a:gd name="T10" fmla="*/ 1117950 w 3175"/>
              <a:gd name="T11" fmla="*/ 354109 h 1472"/>
              <a:gd name="T12" fmla="*/ 1093590 w 3175"/>
              <a:gd name="T13" fmla="*/ 324818 h 1472"/>
              <a:gd name="T14" fmla="*/ 1087065 w 3175"/>
              <a:gd name="T15" fmla="*/ 360908 h 1472"/>
              <a:gd name="T16" fmla="*/ 1072275 w 3175"/>
              <a:gd name="T17" fmla="*/ 389153 h 1472"/>
              <a:gd name="T18" fmla="*/ 1074885 w 3175"/>
              <a:gd name="T19" fmla="*/ 430475 h 1472"/>
              <a:gd name="T20" fmla="*/ 1014420 w 3175"/>
              <a:gd name="T21" fmla="*/ 485396 h 1472"/>
              <a:gd name="T22" fmla="*/ 941775 w 3175"/>
              <a:gd name="T23" fmla="*/ 546593 h 1472"/>
              <a:gd name="T24" fmla="*/ 918720 w 3175"/>
              <a:gd name="T25" fmla="*/ 625052 h 1472"/>
              <a:gd name="T26" fmla="*/ 914805 w 3175"/>
              <a:gd name="T27" fmla="*/ 762092 h 1472"/>
              <a:gd name="T28" fmla="*/ 881310 w 3175"/>
              <a:gd name="T29" fmla="*/ 739601 h 1472"/>
              <a:gd name="T30" fmla="*/ 866955 w 3175"/>
              <a:gd name="T31" fmla="*/ 693572 h 1472"/>
              <a:gd name="T32" fmla="*/ 852165 w 3175"/>
              <a:gd name="T33" fmla="*/ 619298 h 1472"/>
              <a:gd name="T34" fmla="*/ 796920 w 3175"/>
              <a:gd name="T35" fmla="*/ 610929 h 1472"/>
              <a:gd name="T36" fmla="*/ 719055 w 3175"/>
              <a:gd name="T37" fmla="*/ 597853 h 1472"/>
              <a:gd name="T38" fmla="*/ 702960 w 3175"/>
              <a:gd name="T39" fmla="*/ 620344 h 1472"/>
              <a:gd name="T40" fmla="*/ 673380 w 3175"/>
              <a:gd name="T41" fmla="*/ 647543 h 1472"/>
              <a:gd name="T42" fmla="*/ 624660 w 3175"/>
              <a:gd name="T43" fmla="*/ 623482 h 1472"/>
              <a:gd name="T44" fmla="*/ 535485 w 3175"/>
              <a:gd name="T45" fmla="*/ 665327 h 1472"/>
              <a:gd name="T46" fmla="*/ 504600 w 3175"/>
              <a:gd name="T47" fmla="*/ 728094 h 1472"/>
              <a:gd name="T48" fmla="*/ 469800 w 3175"/>
              <a:gd name="T49" fmla="*/ 722863 h 1472"/>
              <a:gd name="T50" fmla="*/ 451095 w 3175"/>
              <a:gd name="T51" fmla="*/ 641789 h 1472"/>
              <a:gd name="T52" fmla="*/ 408900 w 3175"/>
              <a:gd name="T53" fmla="*/ 622436 h 1472"/>
              <a:gd name="T54" fmla="*/ 377145 w 3175"/>
              <a:gd name="T55" fmla="*/ 637605 h 1472"/>
              <a:gd name="T56" fmla="*/ 340170 w 3175"/>
              <a:gd name="T57" fmla="*/ 568562 h 1472"/>
              <a:gd name="T58" fmla="*/ 291450 w 3175"/>
              <a:gd name="T59" fmla="*/ 557054 h 1472"/>
              <a:gd name="T60" fmla="*/ 200970 w 3175"/>
              <a:gd name="T61" fmla="*/ 557054 h 1472"/>
              <a:gd name="T62" fmla="*/ 95700 w 3175"/>
              <a:gd name="T63" fmla="*/ 531425 h 1472"/>
              <a:gd name="T64" fmla="*/ 38280 w 3175"/>
              <a:gd name="T65" fmla="*/ 481211 h 1472"/>
              <a:gd name="T66" fmla="*/ 16965 w 3175"/>
              <a:gd name="T67" fmla="*/ 443551 h 1472"/>
              <a:gd name="T68" fmla="*/ 12615 w 3175"/>
              <a:gd name="T69" fmla="*/ 346263 h 1472"/>
              <a:gd name="T70" fmla="*/ 0 w 3175"/>
              <a:gd name="T71" fmla="*/ 315926 h 1472"/>
              <a:gd name="T72" fmla="*/ 61335 w 3175"/>
              <a:gd name="T73" fmla="*/ 175747 h 1472"/>
              <a:gd name="T74" fmla="*/ 107445 w 3175"/>
              <a:gd name="T75" fmla="*/ 92058 h 1472"/>
              <a:gd name="T76" fmla="*/ 154425 w 3175"/>
              <a:gd name="T77" fmla="*/ 53352 h 1472"/>
              <a:gd name="T78" fmla="*/ 163560 w 3175"/>
              <a:gd name="T79" fmla="*/ 62767 h 1472"/>
              <a:gd name="T80" fmla="*/ 794745 w 3175"/>
              <a:gd name="T81" fmla="*/ 0 h 1472"/>
              <a:gd name="T82" fmla="*/ 837810 w 3175"/>
              <a:gd name="T83" fmla="*/ 28768 h 1472"/>
              <a:gd name="T84" fmla="*/ 876525 w 3175"/>
              <a:gd name="T85" fmla="*/ 36091 h 1472"/>
              <a:gd name="T86" fmla="*/ 839115 w 3175"/>
              <a:gd name="T87" fmla="*/ 66951 h 1472"/>
              <a:gd name="T88" fmla="*/ 859995 w 3175"/>
              <a:gd name="T89" fmla="*/ 86827 h 1472"/>
              <a:gd name="T90" fmla="*/ 910890 w 3175"/>
              <a:gd name="T91" fmla="*/ 81074 h 1472"/>
              <a:gd name="T92" fmla="*/ 993540 w 3175"/>
              <a:gd name="T93" fmla="*/ 100950 h 1472"/>
              <a:gd name="T94" fmla="*/ 964395 w 3175"/>
              <a:gd name="T95" fmla="*/ 106703 h 1472"/>
              <a:gd name="T96" fmla="*/ 907845 w 3175"/>
              <a:gd name="T97" fmla="*/ 138087 h 1472"/>
              <a:gd name="T98" fmla="*/ 879135 w 3175"/>
              <a:gd name="T99" fmla="*/ 185685 h 1472"/>
              <a:gd name="T100" fmla="*/ 875220 w 3175"/>
              <a:gd name="T101" fmla="*/ 235898 h 1472"/>
              <a:gd name="T102" fmla="*/ 903060 w 3175"/>
              <a:gd name="T103" fmla="*/ 218114 h 1472"/>
              <a:gd name="T104" fmla="*/ 959175 w 3175"/>
              <a:gd name="T105" fmla="*/ 131810 h 1472"/>
              <a:gd name="T106" fmla="*/ 986145 w 3175"/>
              <a:gd name="T107" fmla="*/ 158486 h 1472"/>
              <a:gd name="T108" fmla="*/ 1000065 w 3175"/>
              <a:gd name="T109" fmla="*/ 206084 h 1472"/>
              <a:gd name="T110" fmla="*/ 959610 w 3175"/>
              <a:gd name="T111" fmla="*/ 237467 h 1472"/>
              <a:gd name="T112" fmla="*/ 1007895 w 3175"/>
              <a:gd name="T113" fmla="*/ 239036 h 1472"/>
              <a:gd name="T114" fmla="*/ 1117950 w 3175"/>
              <a:gd name="T115" fmla="*/ 195100 h 1472"/>
              <a:gd name="T116" fmla="*/ 1187550 w 3175"/>
              <a:gd name="T117" fmla="*/ 131810 h 1472"/>
              <a:gd name="T118" fmla="*/ 1311960 w 3175"/>
              <a:gd name="T119" fmla="*/ 106180 h 1472"/>
              <a:gd name="T120" fmla="*/ 1364160 w 3175"/>
              <a:gd name="T121" fmla="*/ 61721 h 1472"/>
              <a:gd name="T122" fmla="*/ 1369815 w 3175"/>
              <a:gd name="T123" fmla="*/ 96242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3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252627 w 784"/>
              <a:gd name="T1" fmla="*/ 145020 h 1128"/>
              <a:gd name="T2" fmla="*/ 237894 w 784"/>
              <a:gd name="T3" fmla="*/ 154443 h 1128"/>
              <a:gd name="T4" fmla="*/ 209728 w 784"/>
              <a:gd name="T5" fmla="*/ 202609 h 1128"/>
              <a:gd name="T6" fmla="*/ 201495 w 784"/>
              <a:gd name="T7" fmla="*/ 239257 h 1128"/>
              <a:gd name="T8" fmla="*/ 208428 w 784"/>
              <a:gd name="T9" fmla="*/ 273286 h 1128"/>
              <a:gd name="T10" fmla="*/ 229661 w 784"/>
              <a:gd name="T11" fmla="*/ 309411 h 1128"/>
              <a:gd name="T12" fmla="*/ 250894 w 784"/>
              <a:gd name="T13" fmla="*/ 322499 h 1128"/>
              <a:gd name="T14" fmla="*/ 270827 w 784"/>
              <a:gd name="T15" fmla="*/ 314122 h 1128"/>
              <a:gd name="T16" fmla="*/ 283393 w 784"/>
              <a:gd name="T17" fmla="*/ 341870 h 1128"/>
              <a:gd name="T18" fmla="*/ 291193 w 784"/>
              <a:gd name="T19" fmla="*/ 357576 h 1128"/>
              <a:gd name="T20" fmla="*/ 309392 w 784"/>
              <a:gd name="T21" fmla="*/ 359670 h 1128"/>
              <a:gd name="T22" fmla="*/ 324559 w 784"/>
              <a:gd name="T23" fmla="*/ 372759 h 1128"/>
              <a:gd name="T24" fmla="*/ 333658 w 784"/>
              <a:gd name="T25" fmla="*/ 395794 h 1128"/>
              <a:gd name="T26" fmla="*/ 329759 w 784"/>
              <a:gd name="T27" fmla="*/ 413594 h 1128"/>
              <a:gd name="T28" fmla="*/ 329325 w 784"/>
              <a:gd name="T29" fmla="*/ 431918 h 1128"/>
              <a:gd name="T30" fmla="*/ 334525 w 784"/>
              <a:gd name="T31" fmla="*/ 461760 h 1128"/>
              <a:gd name="T32" fmla="*/ 328459 w 784"/>
              <a:gd name="T33" fmla="*/ 487937 h 1128"/>
              <a:gd name="T34" fmla="*/ 333658 w 784"/>
              <a:gd name="T35" fmla="*/ 520396 h 1128"/>
              <a:gd name="T36" fmla="*/ 330625 w 784"/>
              <a:gd name="T37" fmla="*/ 551808 h 1128"/>
              <a:gd name="T38" fmla="*/ 299426 w 784"/>
              <a:gd name="T39" fmla="*/ 587409 h 1128"/>
              <a:gd name="T40" fmla="*/ 280793 w 784"/>
              <a:gd name="T41" fmla="*/ 577462 h 1128"/>
              <a:gd name="T42" fmla="*/ 260860 w 784"/>
              <a:gd name="T43" fmla="*/ 552855 h 1128"/>
              <a:gd name="T44" fmla="*/ 200628 w 784"/>
              <a:gd name="T45" fmla="*/ 522490 h 1128"/>
              <a:gd name="T46" fmla="*/ 184162 w 784"/>
              <a:gd name="T47" fmla="*/ 506261 h 1128"/>
              <a:gd name="T48" fmla="*/ 143430 w 784"/>
              <a:gd name="T49" fmla="*/ 468042 h 1128"/>
              <a:gd name="T50" fmla="*/ 137797 w 784"/>
              <a:gd name="T51" fmla="*/ 453907 h 1128"/>
              <a:gd name="T52" fmla="*/ 142130 w 784"/>
              <a:gd name="T53" fmla="*/ 426683 h 1128"/>
              <a:gd name="T54" fmla="*/ 125664 w 784"/>
              <a:gd name="T55" fmla="*/ 407312 h 1128"/>
              <a:gd name="T56" fmla="*/ 112231 w 784"/>
              <a:gd name="T57" fmla="*/ 390035 h 1128"/>
              <a:gd name="T58" fmla="*/ 105297 w 784"/>
              <a:gd name="T59" fmla="*/ 360717 h 1128"/>
              <a:gd name="T60" fmla="*/ 66298 w 784"/>
              <a:gd name="T61" fmla="*/ 277475 h 1128"/>
              <a:gd name="T62" fmla="*/ 51999 w 784"/>
              <a:gd name="T63" fmla="*/ 254963 h 1128"/>
              <a:gd name="T64" fmla="*/ 38999 w 784"/>
              <a:gd name="T65" fmla="*/ 226168 h 1128"/>
              <a:gd name="T66" fmla="*/ 9533 w 784"/>
              <a:gd name="T67" fmla="*/ 207844 h 1128"/>
              <a:gd name="T68" fmla="*/ 0 w 784"/>
              <a:gd name="T69" fmla="*/ 190044 h 1128"/>
              <a:gd name="T70" fmla="*/ 5633 w 784"/>
              <a:gd name="T71" fmla="*/ 144496 h 1128"/>
              <a:gd name="T72" fmla="*/ 12133 w 784"/>
              <a:gd name="T73" fmla="*/ 128790 h 1128"/>
              <a:gd name="T74" fmla="*/ 31199 w 784"/>
              <a:gd name="T75" fmla="*/ 116225 h 1128"/>
              <a:gd name="T76" fmla="*/ 41166 w 784"/>
              <a:gd name="T77" fmla="*/ 142402 h 1128"/>
              <a:gd name="T78" fmla="*/ 68465 w 784"/>
              <a:gd name="T79" fmla="*/ 160726 h 1128"/>
              <a:gd name="T80" fmla="*/ 79731 w 784"/>
              <a:gd name="T81" fmla="*/ 141879 h 1128"/>
              <a:gd name="T82" fmla="*/ 87098 w 784"/>
              <a:gd name="T83" fmla="*/ 117796 h 1128"/>
              <a:gd name="T84" fmla="*/ 116997 w 784"/>
              <a:gd name="T85" fmla="*/ 89001 h 1128"/>
              <a:gd name="T86" fmla="*/ 149063 w 784"/>
              <a:gd name="T87" fmla="*/ 62824 h 1128"/>
              <a:gd name="T88" fmla="*/ 154696 w 784"/>
              <a:gd name="T89" fmla="*/ 36648 h 1128"/>
              <a:gd name="T90" fmla="*/ 150363 w 784"/>
              <a:gd name="T91" fmla="*/ 2618 h 1128"/>
              <a:gd name="T92" fmla="*/ 182862 w 784"/>
              <a:gd name="T93" fmla="*/ 27747 h 1128"/>
              <a:gd name="T94" fmla="*/ 202362 w 784"/>
              <a:gd name="T95" fmla="*/ 56018 h 1128"/>
              <a:gd name="T96" fmla="*/ 219261 w 784"/>
              <a:gd name="T97" fmla="*/ 80625 h 1128"/>
              <a:gd name="T98" fmla="*/ 243094 w 784"/>
              <a:gd name="T99" fmla="*/ 82195 h 1128"/>
              <a:gd name="T100" fmla="*/ 267360 w 784"/>
              <a:gd name="T101" fmla="*/ 78007 h 1128"/>
              <a:gd name="T102" fmla="*/ 277327 w 784"/>
              <a:gd name="T103" fmla="*/ 81672 h 1128"/>
              <a:gd name="T104" fmla="*/ 283393 w 784"/>
              <a:gd name="T105" fmla="*/ 101043 h 1128"/>
              <a:gd name="T106" fmla="*/ 271693 w 784"/>
              <a:gd name="T107" fmla="*/ 109943 h 1128"/>
              <a:gd name="T108" fmla="*/ 271693 w 784"/>
              <a:gd name="T109" fmla="*/ 125649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4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183093 w 598"/>
              <a:gd name="T1" fmla="*/ 1058543 h 2158"/>
              <a:gd name="T2" fmla="*/ 149803 w 598"/>
              <a:gd name="T3" fmla="*/ 1023974 h 2158"/>
              <a:gd name="T4" fmla="*/ 148489 w 598"/>
              <a:gd name="T5" fmla="*/ 991500 h 2158"/>
              <a:gd name="T6" fmla="*/ 151118 w 598"/>
              <a:gd name="T7" fmla="*/ 965312 h 2158"/>
              <a:gd name="T8" fmla="*/ 158564 w 598"/>
              <a:gd name="T9" fmla="*/ 938076 h 2158"/>
              <a:gd name="T10" fmla="*/ 155060 w 598"/>
              <a:gd name="T11" fmla="*/ 911363 h 2158"/>
              <a:gd name="T12" fmla="*/ 145423 w 598"/>
              <a:gd name="T13" fmla="*/ 881508 h 2158"/>
              <a:gd name="T14" fmla="*/ 132721 w 598"/>
              <a:gd name="T15" fmla="*/ 828084 h 2158"/>
              <a:gd name="T16" fmla="*/ 98993 w 598"/>
              <a:gd name="T17" fmla="*/ 764707 h 2158"/>
              <a:gd name="T18" fmla="*/ 90232 w 598"/>
              <a:gd name="T19" fmla="*/ 723329 h 2158"/>
              <a:gd name="T20" fmla="*/ 95051 w 598"/>
              <a:gd name="T21" fmla="*/ 680380 h 2158"/>
              <a:gd name="T22" fmla="*/ 91109 w 598"/>
              <a:gd name="T23" fmla="*/ 646858 h 2158"/>
              <a:gd name="T24" fmla="*/ 81034 w 598"/>
              <a:gd name="T25" fmla="*/ 610194 h 2158"/>
              <a:gd name="T26" fmla="*/ 92423 w 598"/>
              <a:gd name="T27" fmla="*/ 588196 h 2158"/>
              <a:gd name="T28" fmla="*/ 85414 w 598"/>
              <a:gd name="T29" fmla="*/ 566721 h 2158"/>
              <a:gd name="T30" fmla="*/ 92423 w 598"/>
              <a:gd name="T31" fmla="*/ 536866 h 2158"/>
              <a:gd name="T32" fmla="*/ 91985 w 598"/>
              <a:gd name="T33" fmla="*/ 520106 h 2158"/>
              <a:gd name="T34" fmla="*/ 81910 w 598"/>
              <a:gd name="T35" fmla="*/ 485537 h 2158"/>
              <a:gd name="T36" fmla="*/ 59571 w 598"/>
              <a:gd name="T37" fmla="*/ 446254 h 2158"/>
              <a:gd name="T38" fmla="*/ 58695 w 598"/>
              <a:gd name="T39" fmla="*/ 359308 h 2158"/>
              <a:gd name="T40" fmla="*/ 80158 w 598"/>
              <a:gd name="T41" fmla="*/ 305883 h 2158"/>
              <a:gd name="T42" fmla="*/ 82786 w 598"/>
              <a:gd name="T43" fmla="*/ 273409 h 2158"/>
              <a:gd name="T44" fmla="*/ 70083 w 598"/>
              <a:gd name="T45" fmla="*/ 240411 h 2158"/>
              <a:gd name="T46" fmla="*/ 79720 w 598"/>
              <a:gd name="T47" fmla="*/ 212651 h 2158"/>
              <a:gd name="T48" fmla="*/ 100307 w 598"/>
              <a:gd name="T49" fmla="*/ 181225 h 2158"/>
              <a:gd name="T50" fmla="*/ 87604 w 598"/>
              <a:gd name="T51" fmla="*/ 161322 h 2158"/>
              <a:gd name="T52" fmla="*/ 64827 w 598"/>
              <a:gd name="T53" fmla="*/ 116277 h 2158"/>
              <a:gd name="T54" fmla="*/ 56505 w 598"/>
              <a:gd name="T55" fmla="*/ 65472 h 2158"/>
              <a:gd name="T56" fmla="*/ 39860 w 598"/>
              <a:gd name="T57" fmla="*/ 19380 h 2158"/>
              <a:gd name="T58" fmla="*/ 0 w 598"/>
              <a:gd name="T59" fmla="*/ 23046 h 2158"/>
              <a:gd name="T60" fmla="*/ 13579 w 598"/>
              <a:gd name="T61" fmla="*/ 104754 h 2158"/>
              <a:gd name="T62" fmla="*/ 18397 w 598"/>
              <a:gd name="T63" fmla="*/ 159227 h 2158"/>
              <a:gd name="T64" fmla="*/ 11827 w 598"/>
              <a:gd name="T65" fmla="*/ 195891 h 2158"/>
              <a:gd name="T66" fmla="*/ 22777 w 598"/>
              <a:gd name="T67" fmla="*/ 274457 h 2158"/>
              <a:gd name="T68" fmla="*/ 20149 w 598"/>
              <a:gd name="T69" fmla="*/ 339928 h 2158"/>
              <a:gd name="T70" fmla="*/ 15769 w 598"/>
              <a:gd name="T71" fmla="*/ 376068 h 2158"/>
              <a:gd name="T72" fmla="*/ 22777 w 598"/>
              <a:gd name="T73" fmla="*/ 401733 h 2158"/>
              <a:gd name="T74" fmla="*/ 28033 w 598"/>
              <a:gd name="T75" fmla="*/ 456205 h 2158"/>
              <a:gd name="T76" fmla="*/ 35480 w 598"/>
              <a:gd name="T77" fmla="*/ 478204 h 2158"/>
              <a:gd name="T78" fmla="*/ 31976 w 598"/>
              <a:gd name="T79" fmla="*/ 547342 h 2158"/>
              <a:gd name="T80" fmla="*/ 27595 w 598"/>
              <a:gd name="T81" fmla="*/ 603385 h 2158"/>
              <a:gd name="T82" fmla="*/ 17521 w 598"/>
              <a:gd name="T83" fmla="*/ 622241 h 2158"/>
              <a:gd name="T84" fmla="*/ 26281 w 598"/>
              <a:gd name="T85" fmla="*/ 658905 h 2158"/>
              <a:gd name="T86" fmla="*/ 46430 w 598"/>
              <a:gd name="T87" fmla="*/ 703426 h 2158"/>
              <a:gd name="T88" fmla="*/ 40736 w 598"/>
              <a:gd name="T89" fmla="*/ 731186 h 2158"/>
              <a:gd name="T90" fmla="*/ 46430 w 598"/>
              <a:gd name="T91" fmla="*/ 758946 h 2158"/>
              <a:gd name="T92" fmla="*/ 71836 w 598"/>
              <a:gd name="T93" fmla="*/ 768374 h 2158"/>
              <a:gd name="T94" fmla="*/ 91547 w 598"/>
              <a:gd name="T95" fmla="*/ 849034 h 2158"/>
              <a:gd name="T96" fmla="*/ 99431 w 598"/>
              <a:gd name="T97" fmla="*/ 895126 h 2158"/>
              <a:gd name="T98" fmla="*/ 66141 w 598"/>
              <a:gd name="T99" fmla="*/ 916077 h 2158"/>
              <a:gd name="T100" fmla="*/ 90671 w 598"/>
              <a:gd name="T101" fmla="*/ 930219 h 2158"/>
              <a:gd name="T102" fmla="*/ 109505 w 598"/>
              <a:gd name="T103" fmla="*/ 953265 h 2158"/>
              <a:gd name="T104" fmla="*/ 120456 w 598"/>
              <a:gd name="T105" fmla="*/ 979977 h 2158"/>
              <a:gd name="T106" fmla="*/ 134911 w 598"/>
              <a:gd name="T107" fmla="*/ 1027117 h 2158"/>
              <a:gd name="T108" fmla="*/ 157250 w 598"/>
              <a:gd name="T109" fmla="*/ 1054353 h 2158"/>
              <a:gd name="T110" fmla="*/ 172143 w 598"/>
              <a:gd name="T111" fmla="*/ 1072685 h 2158"/>
              <a:gd name="T112" fmla="*/ 185721 w 598"/>
              <a:gd name="T113" fmla="*/ 1086303 h 2158"/>
              <a:gd name="T114" fmla="*/ 203680 w 598"/>
              <a:gd name="T115" fmla="*/ 1105159 h 2158"/>
              <a:gd name="T116" fmla="*/ 227333 w 598"/>
              <a:gd name="T117" fmla="*/ 1120872 h 2158"/>
              <a:gd name="T118" fmla="*/ 235656 w 598"/>
              <a:gd name="T119" fmla="*/ 1126634 h 2158"/>
              <a:gd name="T120" fmla="*/ 256681 w 598"/>
              <a:gd name="T121" fmla="*/ 1098874 h 2158"/>
              <a:gd name="T122" fmla="*/ 258871 w 598"/>
              <a:gd name="T123" fmla="*/ 1084732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5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191099 w 2226"/>
              <a:gd name="T1" fmla="*/ 470410 h 2292"/>
              <a:gd name="T2" fmla="*/ 219329 w 2226"/>
              <a:gd name="T3" fmla="*/ 517136 h 2292"/>
              <a:gd name="T4" fmla="*/ 248429 w 2226"/>
              <a:gd name="T5" fmla="*/ 553361 h 2292"/>
              <a:gd name="T6" fmla="*/ 310970 w 2226"/>
              <a:gd name="T7" fmla="*/ 576462 h 2292"/>
              <a:gd name="T8" fmla="*/ 346584 w 2226"/>
              <a:gd name="T9" fmla="*/ 632113 h 2292"/>
              <a:gd name="T10" fmla="*/ 367431 w 2226"/>
              <a:gd name="T11" fmla="*/ 678314 h 2292"/>
              <a:gd name="T12" fmla="*/ 407823 w 2226"/>
              <a:gd name="T13" fmla="*/ 711390 h 2292"/>
              <a:gd name="T14" fmla="*/ 415640 w 2226"/>
              <a:gd name="T15" fmla="*/ 769666 h 2292"/>
              <a:gd name="T16" fmla="*/ 423892 w 2226"/>
              <a:gd name="T17" fmla="*/ 809042 h 2292"/>
              <a:gd name="T18" fmla="*/ 430841 w 2226"/>
              <a:gd name="T19" fmla="*/ 856818 h 2292"/>
              <a:gd name="T20" fmla="*/ 491211 w 2226"/>
              <a:gd name="T21" fmla="*/ 891469 h 2292"/>
              <a:gd name="T22" fmla="*/ 518139 w 2226"/>
              <a:gd name="T23" fmla="*/ 947645 h 2292"/>
              <a:gd name="T24" fmla="*/ 539855 w 2226"/>
              <a:gd name="T25" fmla="*/ 978620 h 2292"/>
              <a:gd name="T26" fmla="*/ 513796 w 2226"/>
              <a:gd name="T27" fmla="*/ 1051597 h 2292"/>
              <a:gd name="T28" fmla="*/ 470798 w 2226"/>
              <a:gd name="T29" fmla="*/ 1117223 h 2292"/>
              <a:gd name="T30" fmla="*/ 512493 w 2226"/>
              <a:gd name="T31" fmla="*/ 1134549 h 2292"/>
              <a:gd name="T32" fmla="*/ 562873 w 2226"/>
              <a:gd name="T33" fmla="*/ 1172874 h 2292"/>
              <a:gd name="T34" fmla="*/ 616294 w 2226"/>
              <a:gd name="T35" fmla="*/ 1153974 h 2292"/>
              <a:gd name="T36" fmla="*/ 659291 w 2226"/>
              <a:gd name="T37" fmla="*/ 1068922 h 2292"/>
              <a:gd name="T38" fmla="*/ 656686 w 2226"/>
              <a:gd name="T39" fmla="*/ 1006971 h 2292"/>
              <a:gd name="T40" fmla="*/ 677967 w 2226"/>
              <a:gd name="T41" fmla="*/ 941345 h 2292"/>
              <a:gd name="T42" fmla="*/ 740943 w 2226"/>
              <a:gd name="T43" fmla="*/ 906694 h 2292"/>
              <a:gd name="T44" fmla="*/ 780900 w 2226"/>
              <a:gd name="T45" fmla="*/ 882543 h 2292"/>
              <a:gd name="T46" fmla="*/ 823897 w 2226"/>
              <a:gd name="T47" fmla="*/ 861543 h 2292"/>
              <a:gd name="T48" fmla="*/ 860814 w 2226"/>
              <a:gd name="T49" fmla="*/ 735015 h 2292"/>
              <a:gd name="T50" fmla="*/ 874712 w 2226"/>
              <a:gd name="T51" fmla="*/ 676214 h 2292"/>
              <a:gd name="T52" fmla="*/ 869500 w 2226"/>
              <a:gd name="T53" fmla="*/ 572262 h 2292"/>
              <a:gd name="T54" fmla="*/ 900337 w 2226"/>
              <a:gd name="T55" fmla="*/ 529736 h 2292"/>
              <a:gd name="T56" fmla="*/ 951152 w 2226"/>
              <a:gd name="T57" fmla="*/ 460435 h 2292"/>
              <a:gd name="T58" fmla="*/ 965050 w 2226"/>
              <a:gd name="T59" fmla="*/ 384308 h 2292"/>
              <a:gd name="T60" fmla="*/ 936819 w 2226"/>
              <a:gd name="T61" fmla="*/ 314482 h 2292"/>
              <a:gd name="T62" fmla="*/ 894256 w 2226"/>
              <a:gd name="T63" fmla="*/ 295581 h 2292"/>
              <a:gd name="T64" fmla="*/ 834321 w 2226"/>
              <a:gd name="T65" fmla="*/ 242555 h 2292"/>
              <a:gd name="T66" fmla="*/ 756578 w 2226"/>
              <a:gd name="T67" fmla="*/ 236255 h 2292"/>
              <a:gd name="T68" fmla="*/ 725307 w 2226"/>
              <a:gd name="T69" fmla="*/ 234680 h 2292"/>
              <a:gd name="T70" fmla="*/ 710541 w 2226"/>
              <a:gd name="T71" fmla="*/ 206854 h 2292"/>
              <a:gd name="T72" fmla="*/ 656686 w 2226"/>
              <a:gd name="T73" fmla="*/ 182704 h 2292"/>
              <a:gd name="T74" fmla="*/ 612820 w 2226"/>
              <a:gd name="T75" fmla="*/ 214729 h 2292"/>
              <a:gd name="T76" fmla="*/ 581115 w 2226"/>
              <a:gd name="T77" fmla="*/ 212629 h 2292"/>
              <a:gd name="T78" fmla="*/ 541592 w 2226"/>
              <a:gd name="T79" fmla="*/ 201604 h 2292"/>
              <a:gd name="T80" fmla="*/ 571994 w 2226"/>
              <a:gd name="T81" fmla="*/ 140703 h 2292"/>
              <a:gd name="T82" fmla="*/ 581115 w 2226"/>
              <a:gd name="T83" fmla="*/ 96602 h 2292"/>
              <a:gd name="T84" fmla="*/ 560702 w 2226"/>
              <a:gd name="T85" fmla="*/ 35701 h 2292"/>
              <a:gd name="T86" fmla="*/ 488171 w 2226"/>
              <a:gd name="T87" fmla="*/ 70876 h 2292"/>
              <a:gd name="T88" fmla="*/ 435619 w 2226"/>
              <a:gd name="T89" fmla="*/ 89252 h 2292"/>
              <a:gd name="T90" fmla="*/ 416943 w 2226"/>
              <a:gd name="T91" fmla="*/ 98177 h 2292"/>
              <a:gd name="T92" fmla="*/ 352664 w 2226"/>
              <a:gd name="T93" fmla="*/ 92402 h 2292"/>
              <a:gd name="T94" fmla="*/ 352230 w 2226"/>
              <a:gd name="T95" fmla="*/ 35176 h 2292"/>
              <a:gd name="T96" fmla="*/ 323565 w 2226"/>
              <a:gd name="T97" fmla="*/ 0 h 2292"/>
              <a:gd name="T98" fmla="*/ 304021 w 2226"/>
              <a:gd name="T99" fmla="*/ 16275 h 2292"/>
              <a:gd name="T100" fmla="*/ 255812 w 2226"/>
              <a:gd name="T101" fmla="*/ 36751 h 2292"/>
              <a:gd name="T102" fmla="*/ 243217 w 2226"/>
              <a:gd name="T103" fmla="*/ 103952 h 2292"/>
              <a:gd name="T104" fmla="*/ 196745 w 2226"/>
              <a:gd name="T105" fmla="*/ 135453 h 2292"/>
              <a:gd name="T106" fmla="*/ 124214 w 2226"/>
              <a:gd name="T107" fmla="*/ 103427 h 2292"/>
              <a:gd name="T108" fmla="*/ 109882 w 2226"/>
              <a:gd name="T109" fmla="*/ 126003 h 2292"/>
              <a:gd name="T110" fmla="*/ 85995 w 2226"/>
              <a:gd name="T111" fmla="*/ 163278 h 2292"/>
              <a:gd name="T112" fmla="*/ 106842 w 2226"/>
              <a:gd name="T113" fmla="*/ 203704 h 2292"/>
              <a:gd name="T114" fmla="*/ 84257 w 2226"/>
              <a:gd name="T115" fmla="*/ 294006 h 2292"/>
              <a:gd name="T116" fmla="*/ 43432 w 2226"/>
              <a:gd name="T117" fmla="*/ 297681 h 2292"/>
              <a:gd name="T118" fmla="*/ 6949 w 2226"/>
              <a:gd name="T119" fmla="*/ 360682 h 2292"/>
              <a:gd name="T120" fmla="*/ 9555 w 2226"/>
              <a:gd name="T121" fmla="*/ 432609 h 2292"/>
              <a:gd name="T122" fmla="*/ 52118 w 2226"/>
              <a:gd name="T123" fmla="*/ 475135 h 2292"/>
              <a:gd name="T124" fmla="*/ 82954 w 2226"/>
              <a:gd name="T125" fmla="*/ 498235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6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40782 w 161"/>
              <a:gd name="T1" fmla="*/ 0 h 93"/>
              <a:gd name="T2" fmla="*/ 46422 w 161"/>
              <a:gd name="T3" fmla="*/ 9525 h 93"/>
              <a:gd name="T4" fmla="*/ 48591 w 161"/>
              <a:gd name="T5" fmla="*/ 6350 h 93"/>
              <a:gd name="T6" fmla="*/ 50761 w 161"/>
              <a:gd name="T7" fmla="*/ 4233 h 93"/>
              <a:gd name="T8" fmla="*/ 52930 w 161"/>
              <a:gd name="T9" fmla="*/ 2646 h 93"/>
              <a:gd name="T10" fmla="*/ 55099 w 161"/>
              <a:gd name="T11" fmla="*/ 1588 h 93"/>
              <a:gd name="T12" fmla="*/ 59438 w 161"/>
              <a:gd name="T13" fmla="*/ 529 h 93"/>
              <a:gd name="T14" fmla="*/ 64210 w 161"/>
              <a:gd name="T15" fmla="*/ 0 h 93"/>
              <a:gd name="T16" fmla="*/ 65511 w 161"/>
              <a:gd name="T17" fmla="*/ 0 h 93"/>
              <a:gd name="T18" fmla="*/ 69850 w 161"/>
              <a:gd name="T19" fmla="*/ 0 h 93"/>
              <a:gd name="T20" fmla="*/ 69850 w 161"/>
              <a:gd name="T21" fmla="*/ 48684 h 93"/>
              <a:gd name="T22" fmla="*/ 67247 w 161"/>
              <a:gd name="T23" fmla="*/ 49213 h 93"/>
              <a:gd name="T24" fmla="*/ 65078 w 161"/>
              <a:gd name="T25" fmla="*/ 49213 h 93"/>
              <a:gd name="T26" fmla="*/ 62908 w 161"/>
              <a:gd name="T27" fmla="*/ 48684 h 93"/>
              <a:gd name="T28" fmla="*/ 60739 w 161"/>
              <a:gd name="T29" fmla="*/ 48155 h 93"/>
              <a:gd name="T30" fmla="*/ 55967 w 161"/>
              <a:gd name="T31" fmla="*/ 46567 h 93"/>
              <a:gd name="T32" fmla="*/ 52062 w 161"/>
              <a:gd name="T33" fmla="*/ 43392 h 93"/>
              <a:gd name="T34" fmla="*/ 48157 w 161"/>
              <a:gd name="T35" fmla="*/ 39688 h 93"/>
              <a:gd name="T36" fmla="*/ 45120 w 161"/>
              <a:gd name="T37" fmla="*/ 35455 h 93"/>
              <a:gd name="T38" fmla="*/ 42084 w 161"/>
              <a:gd name="T39" fmla="*/ 31221 h 93"/>
              <a:gd name="T40" fmla="*/ 40782 w 161"/>
              <a:gd name="T41" fmla="*/ 25929 h 93"/>
              <a:gd name="T42" fmla="*/ 39914 w 161"/>
              <a:gd name="T43" fmla="*/ 26459 h 93"/>
              <a:gd name="T44" fmla="*/ 38613 w 161"/>
              <a:gd name="T45" fmla="*/ 26988 h 93"/>
              <a:gd name="T46" fmla="*/ 37311 w 161"/>
              <a:gd name="T47" fmla="*/ 26988 h 93"/>
              <a:gd name="T48" fmla="*/ 36443 w 161"/>
              <a:gd name="T49" fmla="*/ 26988 h 93"/>
              <a:gd name="T50" fmla="*/ 33840 w 161"/>
              <a:gd name="T51" fmla="*/ 26459 h 93"/>
              <a:gd name="T52" fmla="*/ 32105 w 161"/>
              <a:gd name="T53" fmla="*/ 25929 h 93"/>
              <a:gd name="T54" fmla="*/ 28200 w 161"/>
              <a:gd name="T55" fmla="*/ 25400 h 93"/>
              <a:gd name="T56" fmla="*/ 23862 w 161"/>
              <a:gd name="T57" fmla="*/ 23813 h 93"/>
              <a:gd name="T58" fmla="*/ 19089 w 161"/>
              <a:gd name="T59" fmla="*/ 21167 h 93"/>
              <a:gd name="T60" fmla="*/ 13883 w 161"/>
              <a:gd name="T61" fmla="*/ 17992 h 93"/>
              <a:gd name="T62" fmla="*/ 9111 w 161"/>
              <a:gd name="T63" fmla="*/ 13758 h 93"/>
              <a:gd name="T64" fmla="*/ 5206 w 161"/>
              <a:gd name="T65" fmla="*/ 9525 h 93"/>
              <a:gd name="T66" fmla="*/ 3471 w 161"/>
              <a:gd name="T67" fmla="*/ 7408 h 93"/>
              <a:gd name="T68" fmla="*/ 2169 w 161"/>
              <a:gd name="T69" fmla="*/ 4763 h 93"/>
              <a:gd name="T70" fmla="*/ 1302 w 161"/>
              <a:gd name="T71" fmla="*/ 2646 h 93"/>
              <a:gd name="T72" fmla="*/ 0 w 161"/>
              <a:gd name="T73" fmla="*/ 0 h 93"/>
              <a:gd name="T74" fmla="*/ 40782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7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16338 w 192"/>
              <a:gd name="T1" fmla="*/ 1567 h 307"/>
              <a:gd name="T2" fmla="*/ 15908 w 192"/>
              <a:gd name="T3" fmla="*/ 0 h 307"/>
              <a:gd name="T4" fmla="*/ 24507 w 192"/>
              <a:gd name="T5" fmla="*/ 1567 h 307"/>
              <a:gd name="T6" fmla="*/ 47294 w 192"/>
              <a:gd name="T7" fmla="*/ 7312 h 307"/>
              <a:gd name="T8" fmla="*/ 66642 w 192"/>
              <a:gd name="T9" fmla="*/ 13057 h 307"/>
              <a:gd name="T10" fmla="*/ 77821 w 192"/>
              <a:gd name="T11" fmla="*/ 14624 h 307"/>
              <a:gd name="T12" fmla="*/ 82550 w 192"/>
              <a:gd name="T13" fmla="*/ 18279 h 307"/>
              <a:gd name="T14" fmla="*/ 80830 w 192"/>
              <a:gd name="T15" fmla="*/ 24547 h 307"/>
              <a:gd name="T16" fmla="*/ 75241 w 192"/>
              <a:gd name="T17" fmla="*/ 42826 h 307"/>
              <a:gd name="T18" fmla="*/ 67932 w 192"/>
              <a:gd name="T19" fmla="*/ 66328 h 307"/>
              <a:gd name="T20" fmla="*/ 63202 w 192"/>
              <a:gd name="T21" fmla="*/ 86175 h 307"/>
              <a:gd name="T22" fmla="*/ 62772 w 192"/>
              <a:gd name="T23" fmla="*/ 108110 h 307"/>
              <a:gd name="T24" fmla="*/ 61913 w 192"/>
              <a:gd name="T25" fmla="*/ 130045 h 307"/>
              <a:gd name="T26" fmla="*/ 57613 w 192"/>
              <a:gd name="T27" fmla="*/ 144669 h 307"/>
              <a:gd name="T28" fmla="*/ 45574 w 192"/>
              <a:gd name="T29" fmla="*/ 154592 h 307"/>
              <a:gd name="T30" fmla="*/ 35686 w 192"/>
              <a:gd name="T31" fmla="*/ 158248 h 307"/>
              <a:gd name="T32" fmla="*/ 30956 w 192"/>
              <a:gd name="T33" fmla="*/ 160337 h 307"/>
              <a:gd name="T34" fmla="*/ 22357 w 192"/>
              <a:gd name="T35" fmla="*/ 159292 h 307"/>
              <a:gd name="T36" fmla="*/ 13758 w 192"/>
              <a:gd name="T37" fmla="*/ 151981 h 307"/>
              <a:gd name="T38" fmla="*/ 12898 w 192"/>
              <a:gd name="T39" fmla="*/ 144669 h 307"/>
              <a:gd name="T40" fmla="*/ 9459 w 192"/>
              <a:gd name="T41" fmla="*/ 134223 h 307"/>
              <a:gd name="T42" fmla="*/ 4299 w 192"/>
              <a:gd name="T43" fmla="*/ 120644 h 307"/>
              <a:gd name="T44" fmla="*/ 860 w 192"/>
              <a:gd name="T45" fmla="*/ 110199 h 307"/>
              <a:gd name="T46" fmla="*/ 0 w 192"/>
              <a:gd name="T47" fmla="*/ 102887 h 307"/>
              <a:gd name="T48" fmla="*/ 0 w 192"/>
              <a:gd name="T49" fmla="*/ 94009 h 307"/>
              <a:gd name="T50" fmla="*/ 860 w 192"/>
              <a:gd name="T51" fmla="*/ 86175 h 307"/>
              <a:gd name="T52" fmla="*/ 4729 w 192"/>
              <a:gd name="T53" fmla="*/ 75729 h 307"/>
              <a:gd name="T54" fmla="*/ 14188 w 192"/>
              <a:gd name="T55" fmla="*/ 56927 h 307"/>
              <a:gd name="T56" fmla="*/ 20638 w 192"/>
              <a:gd name="T57" fmla="*/ 42304 h 307"/>
              <a:gd name="T58" fmla="*/ 22357 w 192"/>
              <a:gd name="T59" fmla="*/ 32381 h 307"/>
              <a:gd name="T60" fmla="*/ 22787 w 192"/>
              <a:gd name="T61" fmla="*/ 21413 h 307"/>
              <a:gd name="T62" fmla="*/ 23647 w 192"/>
              <a:gd name="T63" fmla="*/ 15668 h 307"/>
              <a:gd name="T64" fmla="*/ 24507 w 192"/>
              <a:gd name="T65" fmla="*/ 13579 h 307"/>
              <a:gd name="T66" fmla="*/ 25797 w 192"/>
              <a:gd name="T67" fmla="*/ 11490 h 307"/>
              <a:gd name="T68" fmla="*/ 18918 w 192"/>
              <a:gd name="T69" fmla="*/ 3656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8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11200 w 398"/>
              <a:gd name="T1" fmla="*/ 1042 h 518"/>
              <a:gd name="T2" fmla="*/ 40924 w 398"/>
              <a:gd name="T3" fmla="*/ 6773 h 518"/>
              <a:gd name="T4" fmla="*/ 49970 w 398"/>
              <a:gd name="T5" fmla="*/ 11983 h 518"/>
              <a:gd name="T6" fmla="*/ 34462 w 398"/>
              <a:gd name="T7" fmla="*/ 24487 h 518"/>
              <a:gd name="T8" fmla="*/ 27570 w 398"/>
              <a:gd name="T9" fmla="*/ 32302 h 518"/>
              <a:gd name="T10" fmla="*/ 33170 w 398"/>
              <a:gd name="T11" fmla="*/ 35949 h 518"/>
              <a:gd name="T12" fmla="*/ 71940 w 398"/>
              <a:gd name="T13" fmla="*/ 41159 h 518"/>
              <a:gd name="T14" fmla="*/ 90464 w 398"/>
              <a:gd name="T15" fmla="*/ 56788 h 518"/>
              <a:gd name="T16" fmla="*/ 66340 w 398"/>
              <a:gd name="T17" fmla="*/ 66166 h 518"/>
              <a:gd name="T18" fmla="*/ 63324 w 398"/>
              <a:gd name="T19" fmla="*/ 71897 h 518"/>
              <a:gd name="T20" fmla="*/ 82279 w 398"/>
              <a:gd name="T21" fmla="*/ 74502 h 518"/>
              <a:gd name="T22" fmla="*/ 90894 w 398"/>
              <a:gd name="T23" fmla="*/ 81275 h 518"/>
              <a:gd name="T24" fmla="*/ 104679 w 398"/>
              <a:gd name="T25" fmla="*/ 99510 h 518"/>
              <a:gd name="T26" fmla="*/ 111141 w 398"/>
              <a:gd name="T27" fmla="*/ 110451 h 518"/>
              <a:gd name="T28" fmla="*/ 112003 w 398"/>
              <a:gd name="T29" fmla="*/ 123476 h 518"/>
              <a:gd name="T30" fmla="*/ 117172 w 398"/>
              <a:gd name="T31" fmla="*/ 132333 h 518"/>
              <a:gd name="T32" fmla="*/ 123203 w 398"/>
              <a:gd name="T33" fmla="*/ 145357 h 518"/>
              <a:gd name="T34" fmla="*/ 131818 w 398"/>
              <a:gd name="T35" fmla="*/ 154735 h 518"/>
              <a:gd name="T36" fmla="*/ 140865 w 398"/>
              <a:gd name="T37" fmla="*/ 166718 h 518"/>
              <a:gd name="T38" fmla="*/ 149049 w 398"/>
              <a:gd name="T39" fmla="*/ 175575 h 518"/>
              <a:gd name="T40" fmla="*/ 159388 w 398"/>
              <a:gd name="T41" fmla="*/ 177659 h 518"/>
              <a:gd name="T42" fmla="*/ 170588 w 398"/>
              <a:gd name="T43" fmla="*/ 190163 h 518"/>
              <a:gd name="T44" fmla="*/ 170158 w 398"/>
              <a:gd name="T45" fmla="*/ 205793 h 518"/>
              <a:gd name="T46" fmla="*/ 164558 w 398"/>
              <a:gd name="T47" fmla="*/ 210482 h 518"/>
              <a:gd name="T48" fmla="*/ 158096 w 398"/>
              <a:gd name="T49" fmla="*/ 216213 h 518"/>
              <a:gd name="T50" fmla="*/ 158527 w 398"/>
              <a:gd name="T51" fmla="*/ 221944 h 518"/>
              <a:gd name="T52" fmla="*/ 161973 w 398"/>
              <a:gd name="T53" fmla="*/ 230800 h 518"/>
              <a:gd name="T54" fmla="*/ 154650 w 398"/>
              <a:gd name="T55" fmla="*/ 241220 h 518"/>
              <a:gd name="T56" fmla="*/ 62894 w 398"/>
              <a:gd name="T57" fmla="*/ 260497 h 518"/>
              <a:gd name="T58" fmla="*/ 29293 w 398"/>
              <a:gd name="T59" fmla="*/ 264665 h 518"/>
              <a:gd name="T60" fmla="*/ 22831 w 398"/>
              <a:gd name="T61" fmla="*/ 269875 h 518"/>
              <a:gd name="T62" fmla="*/ 24985 w 398"/>
              <a:gd name="T63" fmla="*/ 256850 h 518"/>
              <a:gd name="T64" fmla="*/ 30585 w 398"/>
              <a:gd name="T65" fmla="*/ 247993 h 518"/>
              <a:gd name="T66" fmla="*/ 49109 w 398"/>
              <a:gd name="T67" fmla="*/ 238615 h 518"/>
              <a:gd name="T68" fmla="*/ 74094 w 398"/>
              <a:gd name="T69" fmla="*/ 228716 h 518"/>
              <a:gd name="T70" fmla="*/ 77109 w 398"/>
              <a:gd name="T71" fmla="*/ 221944 h 518"/>
              <a:gd name="T72" fmla="*/ 73663 w 398"/>
              <a:gd name="T73" fmla="*/ 226111 h 518"/>
              <a:gd name="T74" fmla="*/ 47816 w 398"/>
              <a:gd name="T75" fmla="*/ 225069 h 518"/>
              <a:gd name="T76" fmla="*/ 32739 w 398"/>
              <a:gd name="T77" fmla="*/ 218818 h 518"/>
              <a:gd name="T78" fmla="*/ 33170 w 398"/>
              <a:gd name="T79" fmla="*/ 209440 h 518"/>
              <a:gd name="T80" fmla="*/ 40924 w 398"/>
              <a:gd name="T81" fmla="*/ 203709 h 518"/>
              <a:gd name="T82" fmla="*/ 37478 w 398"/>
              <a:gd name="T83" fmla="*/ 183390 h 518"/>
              <a:gd name="T84" fmla="*/ 45232 w 398"/>
              <a:gd name="T85" fmla="*/ 171407 h 518"/>
              <a:gd name="T86" fmla="*/ 66340 w 398"/>
              <a:gd name="T87" fmla="*/ 160987 h 518"/>
              <a:gd name="T88" fmla="*/ 74094 w 398"/>
              <a:gd name="T89" fmla="*/ 151609 h 518"/>
              <a:gd name="T90" fmla="*/ 63755 w 398"/>
              <a:gd name="T91" fmla="*/ 141189 h 518"/>
              <a:gd name="T92" fmla="*/ 59878 w 398"/>
              <a:gd name="T93" fmla="*/ 128686 h 518"/>
              <a:gd name="T94" fmla="*/ 40493 w 398"/>
              <a:gd name="T95" fmla="*/ 124518 h 518"/>
              <a:gd name="T96" fmla="*/ 34462 w 398"/>
              <a:gd name="T97" fmla="*/ 112535 h 518"/>
              <a:gd name="T98" fmla="*/ 38770 w 398"/>
              <a:gd name="T99" fmla="*/ 100031 h 518"/>
              <a:gd name="T100" fmla="*/ 43078 w 398"/>
              <a:gd name="T101" fmla="*/ 87527 h 518"/>
              <a:gd name="T102" fmla="*/ 31447 w 398"/>
              <a:gd name="T103" fmla="*/ 96905 h 518"/>
              <a:gd name="T104" fmla="*/ 9477 w 398"/>
              <a:gd name="T105" fmla="*/ 84401 h 518"/>
              <a:gd name="T106" fmla="*/ 8616 w 398"/>
              <a:gd name="T107" fmla="*/ 73981 h 518"/>
              <a:gd name="T108" fmla="*/ 6031 w 398"/>
              <a:gd name="T109" fmla="*/ 68250 h 518"/>
              <a:gd name="T110" fmla="*/ 8616 w 398"/>
              <a:gd name="T111" fmla="*/ 32823 h 518"/>
              <a:gd name="T112" fmla="*/ 8185 w 398"/>
              <a:gd name="T113" fmla="*/ 25529 h 518"/>
              <a:gd name="T114" fmla="*/ 1723 w 398"/>
              <a:gd name="T115" fmla="*/ 20840 h 518"/>
              <a:gd name="T116" fmla="*/ 8616 w 398"/>
              <a:gd name="T117" fmla="*/ 9899 h 518"/>
              <a:gd name="T118" fmla="*/ 1292 w 398"/>
              <a:gd name="T119" fmla="*/ 4689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9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84486 w 382"/>
              <a:gd name="T1" fmla="*/ 10812 h 148"/>
              <a:gd name="T2" fmla="*/ 78706 w 382"/>
              <a:gd name="T3" fmla="*/ 15961 h 148"/>
              <a:gd name="T4" fmla="*/ 77372 w 382"/>
              <a:gd name="T5" fmla="*/ 23169 h 148"/>
              <a:gd name="T6" fmla="*/ 74704 w 382"/>
              <a:gd name="T7" fmla="*/ 27288 h 148"/>
              <a:gd name="T8" fmla="*/ 73814 w 382"/>
              <a:gd name="T9" fmla="*/ 31407 h 148"/>
              <a:gd name="T10" fmla="*/ 78706 w 382"/>
              <a:gd name="T11" fmla="*/ 38100 h 148"/>
              <a:gd name="T12" fmla="*/ 68923 w 382"/>
              <a:gd name="T13" fmla="*/ 44278 h 148"/>
              <a:gd name="T14" fmla="*/ 48024 w 382"/>
              <a:gd name="T15" fmla="*/ 49427 h 148"/>
              <a:gd name="T16" fmla="*/ 34239 w 382"/>
              <a:gd name="T17" fmla="*/ 49942 h 148"/>
              <a:gd name="T18" fmla="*/ 23123 w 382"/>
              <a:gd name="T19" fmla="*/ 48912 h 148"/>
              <a:gd name="T20" fmla="*/ 1779 w 382"/>
              <a:gd name="T21" fmla="*/ 57150 h 148"/>
              <a:gd name="T22" fmla="*/ 0 w 382"/>
              <a:gd name="T23" fmla="*/ 66418 h 148"/>
              <a:gd name="T24" fmla="*/ 1779 w 382"/>
              <a:gd name="T25" fmla="*/ 67447 h 148"/>
              <a:gd name="T26" fmla="*/ 5336 w 382"/>
              <a:gd name="T27" fmla="*/ 67447 h 148"/>
              <a:gd name="T28" fmla="*/ 22678 w 382"/>
              <a:gd name="T29" fmla="*/ 66418 h 148"/>
              <a:gd name="T30" fmla="*/ 50692 w 382"/>
              <a:gd name="T31" fmla="*/ 65388 h 148"/>
              <a:gd name="T32" fmla="*/ 54694 w 382"/>
              <a:gd name="T33" fmla="*/ 68992 h 148"/>
              <a:gd name="T34" fmla="*/ 60919 w 382"/>
              <a:gd name="T35" fmla="*/ 72596 h 148"/>
              <a:gd name="T36" fmla="*/ 70702 w 382"/>
              <a:gd name="T37" fmla="*/ 75685 h 148"/>
              <a:gd name="T38" fmla="*/ 82263 w 382"/>
              <a:gd name="T39" fmla="*/ 76200 h 148"/>
              <a:gd name="T40" fmla="*/ 93380 w 382"/>
              <a:gd name="T41" fmla="*/ 76200 h 148"/>
              <a:gd name="T42" fmla="*/ 103607 w 382"/>
              <a:gd name="T43" fmla="*/ 76200 h 148"/>
              <a:gd name="T44" fmla="*/ 113390 w 382"/>
              <a:gd name="T45" fmla="*/ 76200 h 148"/>
              <a:gd name="T46" fmla="*/ 122283 w 382"/>
              <a:gd name="T47" fmla="*/ 73626 h 148"/>
              <a:gd name="T48" fmla="*/ 133844 w 382"/>
              <a:gd name="T49" fmla="*/ 68992 h 148"/>
              <a:gd name="T50" fmla="*/ 148518 w 382"/>
              <a:gd name="T51" fmla="*/ 62299 h 148"/>
              <a:gd name="T52" fmla="*/ 156967 w 382"/>
              <a:gd name="T53" fmla="*/ 53031 h 148"/>
              <a:gd name="T54" fmla="*/ 165415 w 382"/>
              <a:gd name="T55" fmla="*/ 37070 h 148"/>
              <a:gd name="T56" fmla="*/ 167194 w 382"/>
              <a:gd name="T57" fmla="*/ 26773 h 148"/>
              <a:gd name="T58" fmla="*/ 161413 w 382"/>
              <a:gd name="T59" fmla="*/ 22654 h 148"/>
              <a:gd name="T60" fmla="*/ 158745 w 382"/>
              <a:gd name="T61" fmla="*/ 16476 h 148"/>
              <a:gd name="T62" fmla="*/ 154299 w 382"/>
              <a:gd name="T63" fmla="*/ 11327 h 148"/>
              <a:gd name="T64" fmla="*/ 148518 w 382"/>
              <a:gd name="T65" fmla="*/ 8753 h 148"/>
              <a:gd name="T66" fmla="*/ 141848 w 382"/>
              <a:gd name="T67" fmla="*/ 4119 h 148"/>
              <a:gd name="T68" fmla="*/ 90267 w 382"/>
              <a:gd name="T69" fmla="*/ 9268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0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162757 w 2936"/>
              <a:gd name="T1" fmla="*/ 560736 h 1983"/>
              <a:gd name="T2" fmla="*/ 167993 w 2936"/>
              <a:gd name="T3" fmla="*/ 618851 h 1983"/>
              <a:gd name="T4" fmla="*/ 208573 w 2936"/>
              <a:gd name="T5" fmla="*/ 710998 h 1983"/>
              <a:gd name="T6" fmla="*/ 335114 w 2936"/>
              <a:gd name="T7" fmla="*/ 781156 h 1983"/>
              <a:gd name="T8" fmla="*/ 452055 w 2936"/>
              <a:gd name="T9" fmla="*/ 812569 h 1983"/>
              <a:gd name="T10" fmla="*/ 490453 w 2936"/>
              <a:gd name="T11" fmla="*/ 800527 h 1983"/>
              <a:gd name="T12" fmla="*/ 611321 w 2936"/>
              <a:gd name="T13" fmla="*/ 758119 h 1983"/>
              <a:gd name="T14" fmla="*/ 675027 w 2936"/>
              <a:gd name="T15" fmla="*/ 807334 h 1983"/>
              <a:gd name="T16" fmla="*/ 688118 w 2936"/>
              <a:gd name="T17" fmla="*/ 888486 h 1983"/>
              <a:gd name="T18" fmla="*/ 701208 w 2936"/>
              <a:gd name="T19" fmla="*/ 928277 h 1983"/>
              <a:gd name="T20" fmla="*/ 744406 w 2936"/>
              <a:gd name="T21" fmla="*/ 1001052 h 1983"/>
              <a:gd name="T22" fmla="*/ 803749 w 2936"/>
              <a:gd name="T23" fmla="*/ 973303 h 1983"/>
              <a:gd name="T24" fmla="*/ 904109 w 2936"/>
              <a:gd name="T25" fmla="*/ 970685 h 1983"/>
              <a:gd name="T26" fmla="*/ 988324 w 2936"/>
              <a:gd name="T27" fmla="*/ 1038225 h 1983"/>
              <a:gd name="T28" fmla="*/ 1028468 w 2936"/>
              <a:gd name="T29" fmla="*/ 1000005 h 1983"/>
              <a:gd name="T30" fmla="*/ 1072102 w 2936"/>
              <a:gd name="T31" fmla="*/ 976968 h 1983"/>
              <a:gd name="T32" fmla="*/ 1110937 w 2936"/>
              <a:gd name="T33" fmla="*/ 956026 h 1983"/>
              <a:gd name="T34" fmla="*/ 1170716 w 2936"/>
              <a:gd name="T35" fmla="*/ 906811 h 1983"/>
              <a:gd name="T36" fmla="*/ 1186425 w 2936"/>
              <a:gd name="T37" fmla="*/ 846077 h 1983"/>
              <a:gd name="T38" fmla="*/ 1219151 w 2936"/>
              <a:gd name="T39" fmla="*/ 743459 h 1983"/>
              <a:gd name="T40" fmla="*/ 1180316 w 2936"/>
              <a:gd name="T41" fmla="*/ 719899 h 1983"/>
              <a:gd name="T42" fmla="*/ 1151954 w 2936"/>
              <a:gd name="T43" fmla="*/ 666495 h 1983"/>
              <a:gd name="T44" fmla="*/ 1164608 w 2936"/>
              <a:gd name="T45" fmla="*/ 642412 h 1983"/>
              <a:gd name="T46" fmla="*/ 1104828 w 2936"/>
              <a:gd name="T47" fmla="*/ 555500 h 1983"/>
              <a:gd name="T48" fmla="*/ 1127082 w 2936"/>
              <a:gd name="T49" fmla="*/ 519898 h 1983"/>
              <a:gd name="T50" fmla="*/ 1070357 w 2936"/>
              <a:gd name="T51" fmla="*/ 503667 h 1983"/>
              <a:gd name="T52" fmla="*/ 1017995 w 2936"/>
              <a:gd name="T53" fmla="*/ 464400 h 1983"/>
              <a:gd name="T54" fmla="*/ 1033267 w 2936"/>
              <a:gd name="T55" fmla="*/ 437698 h 1983"/>
              <a:gd name="T56" fmla="*/ 1065993 w 2936"/>
              <a:gd name="T57" fmla="*/ 395813 h 1983"/>
              <a:gd name="T58" fmla="*/ 1089120 w 2936"/>
              <a:gd name="T59" fmla="*/ 408379 h 1983"/>
              <a:gd name="T60" fmla="*/ 1104828 w 2936"/>
              <a:gd name="T61" fmla="*/ 446599 h 1983"/>
              <a:gd name="T62" fmla="*/ 1173335 w 2936"/>
              <a:gd name="T63" fmla="*/ 399478 h 1983"/>
              <a:gd name="T64" fmla="*/ 1233987 w 2936"/>
              <a:gd name="T65" fmla="*/ 352358 h 1983"/>
              <a:gd name="T66" fmla="*/ 1259295 w 2936"/>
              <a:gd name="T67" fmla="*/ 295289 h 1983"/>
              <a:gd name="T68" fmla="*/ 1277621 w 2936"/>
              <a:gd name="T69" fmla="*/ 258640 h 1983"/>
              <a:gd name="T70" fmla="*/ 1262349 w 2936"/>
              <a:gd name="T71" fmla="*/ 160734 h 1983"/>
              <a:gd name="T72" fmla="*/ 1187734 w 2936"/>
              <a:gd name="T73" fmla="*/ 178535 h 1983"/>
              <a:gd name="T74" fmla="*/ 1073848 w 2936"/>
              <a:gd name="T75" fmla="*/ 107330 h 1983"/>
              <a:gd name="T76" fmla="*/ 1003596 w 2936"/>
              <a:gd name="T77" fmla="*/ 46597 h 1983"/>
              <a:gd name="T78" fmla="*/ 863965 w 2936"/>
              <a:gd name="T79" fmla="*/ 27749 h 1983"/>
              <a:gd name="T80" fmla="*/ 875747 w 2936"/>
              <a:gd name="T81" fmla="*/ 81152 h 1983"/>
              <a:gd name="T82" fmla="*/ 851747 w 2936"/>
              <a:gd name="T83" fmla="*/ 118849 h 1983"/>
              <a:gd name="T84" fmla="*/ 883601 w 2936"/>
              <a:gd name="T85" fmla="*/ 183247 h 1983"/>
              <a:gd name="T86" fmla="*/ 936399 w 2936"/>
              <a:gd name="T87" fmla="*/ 193718 h 1983"/>
              <a:gd name="T88" fmla="*/ 890582 w 2936"/>
              <a:gd name="T89" fmla="*/ 238221 h 1983"/>
              <a:gd name="T90" fmla="*/ 825130 w 2936"/>
              <a:gd name="T91" fmla="*/ 298431 h 1983"/>
              <a:gd name="T92" fmla="*/ 711244 w 2936"/>
              <a:gd name="T93" fmla="*/ 373300 h 1983"/>
              <a:gd name="T94" fmla="*/ 535833 w 2936"/>
              <a:gd name="T95" fmla="*/ 345028 h 1983"/>
              <a:gd name="T96" fmla="*/ 452055 w 2936"/>
              <a:gd name="T97" fmla="*/ 293195 h 1983"/>
              <a:gd name="T98" fmla="*/ 328132 w 2936"/>
              <a:gd name="T99" fmla="*/ 259164 h 1983"/>
              <a:gd name="T100" fmla="*/ 299333 w 2936"/>
              <a:gd name="T101" fmla="*/ 198430 h 1983"/>
              <a:gd name="T102" fmla="*/ 223409 w 2936"/>
              <a:gd name="T103" fmla="*/ 156545 h 1983"/>
              <a:gd name="T104" fmla="*/ 187629 w 2936"/>
              <a:gd name="T105" fmla="*/ 162828 h 1983"/>
              <a:gd name="T106" fmla="*/ 184574 w 2936"/>
              <a:gd name="T107" fmla="*/ 203142 h 1983"/>
              <a:gd name="T108" fmla="*/ 133086 w 2936"/>
              <a:gd name="T109" fmla="*/ 200001 h 1983"/>
              <a:gd name="T110" fmla="*/ 99051 w 2936"/>
              <a:gd name="T111" fmla="*/ 265446 h 1983"/>
              <a:gd name="T112" fmla="*/ 113450 w 2936"/>
              <a:gd name="T113" fmla="*/ 311520 h 1983"/>
              <a:gd name="T114" fmla="*/ 109959 w 2936"/>
              <a:gd name="T115" fmla="*/ 374871 h 1983"/>
              <a:gd name="T116" fmla="*/ 51489 w 2936"/>
              <a:gd name="T117" fmla="*/ 408903 h 1983"/>
              <a:gd name="T118" fmla="*/ 17454 w 2936"/>
              <a:gd name="T119" fmla="*/ 468065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1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151048 w 504"/>
              <a:gd name="T1" fmla="*/ 256896 h 524"/>
              <a:gd name="T2" fmla="*/ 112082 w 504"/>
              <a:gd name="T3" fmla="*/ 263149 h 524"/>
              <a:gd name="T4" fmla="*/ 102888 w 504"/>
              <a:gd name="T5" fmla="*/ 269402 h 524"/>
              <a:gd name="T6" fmla="*/ 91943 w 504"/>
              <a:gd name="T7" fmla="*/ 272008 h 524"/>
              <a:gd name="T8" fmla="*/ 67862 w 504"/>
              <a:gd name="T9" fmla="*/ 273050 h 524"/>
              <a:gd name="T10" fmla="*/ 46409 w 504"/>
              <a:gd name="T11" fmla="*/ 272008 h 524"/>
              <a:gd name="T12" fmla="*/ 41155 w 504"/>
              <a:gd name="T13" fmla="*/ 268881 h 524"/>
              <a:gd name="T14" fmla="*/ 31085 w 504"/>
              <a:gd name="T15" fmla="*/ 265234 h 524"/>
              <a:gd name="T16" fmla="*/ 15762 w 504"/>
              <a:gd name="T17" fmla="*/ 258460 h 524"/>
              <a:gd name="T18" fmla="*/ 9632 w 504"/>
              <a:gd name="T19" fmla="*/ 253249 h 524"/>
              <a:gd name="T20" fmla="*/ 8756 w 504"/>
              <a:gd name="T21" fmla="*/ 248559 h 524"/>
              <a:gd name="T22" fmla="*/ 11821 w 504"/>
              <a:gd name="T23" fmla="*/ 241264 h 524"/>
              <a:gd name="T24" fmla="*/ 14010 w 504"/>
              <a:gd name="T25" fmla="*/ 231884 h 524"/>
              <a:gd name="T26" fmla="*/ 12259 w 504"/>
              <a:gd name="T27" fmla="*/ 225110 h 524"/>
              <a:gd name="T28" fmla="*/ 4378 w 504"/>
              <a:gd name="T29" fmla="*/ 217294 h 524"/>
              <a:gd name="T30" fmla="*/ 438 w 504"/>
              <a:gd name="T31" fmla="*/ 212083 h 524"/>
              <a:gd name="T32" fmla="*/ 438 w 504"/>
              <a:gd name="T33" fmla="*/ 203745 h 524"/>
              <a:gd name="T34" fmla="*/ 7443 w 504"/>
              <a:gd name="T35" fmla="*/ 187592 h 524"/>
              <a:gd name="T36" fmla="*/ 21015 w 504"/>
              <a:gd name="T37" fmla="*/ 170917 h 524"/>
              <a:gd name="T38" fmla="*/ 37653 w 504"/>
              <a:gd name="T39" fmla="*/ 155805 h 524"/>
              <a:gd name="T40" fmla="*/ 54290 w 504"/>
              <a:gd name="T41" fmla="*/ 145383 h 524"/>
              <a:gd name="T42" fmla="*/ 70051 w 504"/>
              <a:gd name="T43" fmla="*/ 141736 h 524"/>
              <a:gd name="T44" fmla="*/ 67862 w 504"/>
              <a:gd name="T45" fmla="*/ 137567 h 524"/>
              <a:gd name="T46" fmla="*/ 62171 w 504"/>
              <a:gd name="T47" fmla="*/ 134962 h 524"/>
              <a:gd name="T48" fmla="*/ 58230 w 504"/>
              <a:gd name="T49" fmla="*/ 130793 h 524"/>
              <a:gd name="T50" fmla="*/ 55603 w 504"/>
              <a:gd name="T51" fmla="*/ 119329 h 524"/>
              <a:gd name="T52" fmla="*/ 54290 w 504"/>
              <a:gd name="T53" fmla="*/ 101612 h 524"/>
              <a:gd name="T54" fmla="*/ 50349 w 504"/>
              <a:gd name="T55" fmla="*/ 83895 h 524"/>
              <a:gd name="T56" fmla="*/ 43782 w 504"/>
              <a:gd name="T57" fmla="*/ 69826 h 524"/>
              <a:gd name="T58" fmla="*/ 29772 w 504"/>
              <a:gd name="T59" fmla="*/ 46898 h 524"/>
              <a:gd name="T60" fmla="*/ 37653 w 504"/>
              <a:gd name="T61" fmla="*/ 31265 h 524"/>
              <a:gd name="T62" fmla="*/ 46409 w 504"/>
              <a:gd name="T63" fmla="*/ 29181 h 524"/>
              <a:gd name="T64" fmla="*/ 56917 w 504"/>
              <a:gd name="T65" fmla="*/ 30223 h 524"/>
              <a:gd name="T66" fmla="*/ 60857 w 504"/>
              <a:gd name="T67" fmla="*/ 31786 h 524"/>
              <a:gd name="T68" fmla="*/ 70051 w 504"/>
              <a:gd name="T69" fmla="*/ 29181 h 524"/>
              <a:gd name="T70" fmla="*/ 71803 w 504"/>
              <a:gd name="T71" fmla="*/ 17196 h 524"/>
              <a:gd name="T72" fmla="*/ 74867 w 504"/>
              <a:gd name="T73" fmla="*/ 6774 h 524"/>
              <a:gd name="T74" fmla="*/ 81873 w 504"/>
              <a:gd name="T75" fmla="*/ 0 h 524"/>
              <a:gd name="T76" fmla="*/ 98510 w 504"/>
              <a:gd name="T77" fmla="*/ 0 h 524"/>
              <a:gd name="T78" fmla="*/ 111207 w 504"/>
              <a:gd name="T79" fmla="*/ 4169 h 524"/>
              <a:gd name="T80" fmla="*/ 122590 w 504"/>
              <a:gd name="T81" fmla="*/ 10943 h 524"/>
              <a:gd name="T82" fmla="*/ 122152 w 504"/>
              <a:gd name="T83" fmla="*/ 32307 h 524"/>
              <a:gd name="T84" fmla="*/ 127844 w 504"/>
              <a:gd name="T85" fmla="*/ 40124 h 524"/>
              <a:gd name="T86" fmla="*/ 139665 w 504"/>
              <a:gd name="T87" fmla="*/ 48982 h 524"/>
              <a:gd name="T88" fmla="*/ 155864 w 504"/>
              <a:gd name="T89" fmla="*/ 62009 h 524"/>
              <a:gd name="T90" fmla="*/ 151486 w 504"/>
              <a:gd name="T91" fmla="*/ 70347 h 524"/>
              <a:gd name="T92" fmla="*/ 148859 w 504"/>
              <a:gd name="T93" fmla="*/ 79726 h 524"/>
              <a:gd name="T94" fmla="*/ 150611 w 504"/>
              <a:gd name="T95" fmla="*/ 91711 h 524"/>
              <a:gd name="T96" fmla="*/ 158929 w 504"/>
              <a:gd name="T97" fmla="*/ 104218 h 524"/>
              <a:gd name="T98" fmla="*/ 165497 w 504"/>
              <a:gd name="T99" fmla="*/ 109428 h 524"/>
              <a:gd name="T100" fmla="*/ 168999 w 504"/>
              <a:gd name="T101" fmla="*/ 133398 h 524"/>
              <a:gd name="T102" fmla="*/ 176880 w 504"/>
              <a:gd name="T103" fmla="*/ 150594 h 524"/>
              <a:gd name="T104" fmla="*/ 189139 w 504"/>
              <a:gd name="T105" fmla="*/ 164143 h 524"/>
              <a:gd name="T106" fmla="*/ 202711 w 504"/>
              <a:gd name="T107" fmla="*/ 174564 h 524"/>
              <a:gd name="T108" fmla="*/ 204025 w 504"/>
              <a:gd name="T109" fmla="*/ 203224 h 524"/>
              <a:gd name="T110" fmla="*/ 173815 w 504"/>
              <a:gd name="T111" fmla="*/ 23813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2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177560 w 438"/>
              <a:gd name="T1" fmla="*/ 100319 h 451"/>
              <a:gd name="T2" fmla="*/ 170058 w 438"/>
              <a:gd name="T3" fmla="*/ 67583 h 451"/>
              <a:gd name="T4" fmla="*/ 161305 w 438"/>
              <a:gd name="T5" fmla="*/ 44879 h 451"/>
              <a:gd name="T6" fmla="*/ 152969 w 438"/>
              <a:gd name="T7" fmla="*/ 32736 h 451"/>
              <a:gd name="T8" fmla="*/ 148384 w 438"/>
              <a:gd name="T9" fmla="*/ 30624 h 451"/>
              <a:gd name="T10" fmla="*/ 139631 w 438"/>
              <a:gd name="T11" fmla="*/ 23760 h 451"/>
              <a:gd name="T12" fmla="*/ 130878 w 438"/>
              <a:gd name="T13" fmla="*/ 20064 h 451"/>
              <a:gd name="T14" fmla="*/ 122125 w 438"/>
              <a:gd name="T15" fmla="*/ 20064 h 451"/>
              <a:gd name="T16" fmla="*/ 115039 w 438"/>
              <a:gd name="T17" fmla="*/ 22176 h 451"/>
              <a:gd name="T18" fmla="*/ 104619 w 438"/>
              <a:gd name="T19" fmla="*/ 30624 h 451"/>
              <a:gd name="T20" fmla="*/ 97950 w 438"/>
              <a:gd name="T21" fmla="*/ 35376 h 451"/>
              <a:gd name="T22" fmla="*/ 90447 w 438"/>
              <a:gd name="T23" fmla="*/ 34848 h 451"/>
              <a:gd name="T24" fmla="*/ 72525 w 438"/>
              <a:gd name="T25" fmla="*/ 19536 h 451"/>
              <a:gd name="T26" fmla="*/ 47099 w 438"/>
              <a:gd name="T27" fmla="*/ 0 h 451"/>
              <a:gd name="T28" fmla="*/ 39597 w 438"/>
              <a:gd name="T29" fmla="*/ 12144 h 451"/>
              <a:gd name="T30" fmla="*/ 38763 w 438"/>
              <a:gd name="T31" fmla="*/ 22704 h 451"/>
              <a:gd name="T32" fmla="*/ 40847 w 438"/>
              <a:gd name="T33" fmla="*/ 27456 h 451"/>
              <a:gd name="T34" fmla="*/ 49600 w 438"/>
              <a:gd name="T35" fmla="*/ 36432 h 451"/>
              <a:gd name="T36" fmla="*/ 41264 w 438"/>
              <a:gd name="T37" fmla="*/ 38544 h 451"/>
              <a:gd name="T38" fmla="*/ 27509 w 438"/>
              <a:gd name="T39" fmla="*/ 49103 h 451"/>
              <a:gd name="T40" fmla="*/ 24175 w 438"/>
              <a:gd name="T41" fmla="*/ 62831 h 451"/>
              <a:gd name="T42" fmla="*/ 18756 w 438"/>
              <a:gd name="T43" fmla="*/ 72863 h 451"/>
              <a:gd name="T44" fmla="*/ 14588 w 438"/>
              <a:gd name="T45" fmla="*/ 82367 h 451"/>
              <a:gd name="T46" fmla="*/ 13755 w 438"/>
              <a:gd name="T47" fmla="*/ 94511 h 451"/>
              <a:gd name="T48" fmla="*/ 2918 w 438"/>
              <a:gd name="T49" fmla="*/ 125662 h 451"/>
              <a:gd name="T50" fmla="*/ 6252 w 438"/>
              <a:gd name="T51" fmla="*/ 129886 h 451"/>
              <a:gd name="T52" fmla="*/ 10837 w 438"/>
              <a:gd name="T53" fmla="*/ 130414 h 451"/>
              <a:gd name="T54" fmla="*/ 13755 w 438"/>
              <a:gd name="T55" fmla="*/ 182686 h 451"/>
              <a:gd name="T56" fmla="*/ 38763 w 438"/>
              <a:gd name="T57" fmla="*/ 186382 h 451"/>
              <a:gd name="T58" fmla="*/ 43348 w 438"/>
              <a:gd name="T59" fmla="*/ 198525 h 451"/>
              <a:gd name="T60" fmla="*/ 37096 w 438"/>
              <a:gd name="T61" fmla="*/ 224397 h 451"/>
              <a:gd name="T62" fmla="*/ 45432 w 438"/>
              <a:gd name="T63" fmla="*/ 236013 h 451"/>
              <a:gd name="T64" fmla="*/ 63355 w 438"/>
              <a:gd name="T65" fmla="*/ 236013 h 451"/>
              <a:gd name="T66" fmla="*/ 85446 w 438"/>
              <a:gd name="T67" fmla="*/ 234429 h 451"/>
              <a:gd name="T68" fmla="*/ 115039 w 438"/>
              <a:gd name="T69" fmla="*/ 235485 h 451"/>
              <a:gd name="T70" fmla="*/ 142965 w 438"/>
              <a:gd name="T71" fmla="*/ 233373 h 451"/>
              <a:gd name="T72" fmla="*/ 155053 w 438"/>
              <a:gd name="T73" fmla="*/ 228093 h 451"/>
              <a:gd name="T74" fmla="*/ 149634 w 438"/>
              <a:gd name="T75" fmla="*/ 218061 h 451"/>
              <a:gd name="T76" fmla="*/ 153802 w 438"/>
              <a:gd name="T77" fmla="*/ 212781 h 451"/>
              <a:gd name="T78" fmla="*/ 155053 w 438"/>
              <a:gd name="T79" fmla="*/ 201693 h 451"/>
              <a:gd name="T80" fmla="*/ 158387 w 438"/>
              <a:gd name="T81" fmla="*/ 193774 h 451"/>
              <a:gd name="T82" fmla="*/ 142965 w 438"/>
              <a:gd name="T83" fmla="*/ 181630 h 451"/>
              <a:gd name="T84" fmla="*/ 135463 w 438"/>
              <a:gd name="T85" fmla="*/ 170542 h 451"/>
              <a:gd name="T86" fmla="*/ 129627 w 438"/>
              <a:gd name="T87" fmla="*/ 155230 h 451"/>
              <a:gd name="T88" fmla="*/ 122542 w 438"/>
              <a:gd name="T89" fmla="*/ 146254 h 451"/>
              <a:gd name="T90" fmla="*/ 130878 w 438"/>
              <a:gd name="T91" fmla="*/ 145198 h 451"/>
              <a:gd name="T92" fmla="*/ 144216 w 438"/>
              <a:gd name="T93" fmla="*/ 143086 h 451"/>
              <a:gd name="T94" fmla="*/ 153802 w 438"/>
              <a:gd name="T95" fmla="*/ 137278 h 451"/>
              <a:gd name="T96" fmla="*/ 169641 w 438"/>
              <a:gd name="T97" fmla="*/ 126718 h 451"/>
              <a:gd name="T98" fmla="*/ 182562 w 438"/>
              <a:gd name="T99" fmla="*/ 124078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3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141903 w 578"/>
              <a:gd name="T1" fmla="*/ 46122 h 524"/>
              <a:gd name="T2" fmla="*/ 135393 w 578"/>
              <a:gd name="T3" fmla="*/ 44550 h 524"/>
              <a:gd name="T4" fmla="*/ 130620 w 578"/>
              <a:gd name="T5" fmla="*/ 41405 h 524"/>
              <a:gd name="T6" fmla="*/ 119337 w 578"/>
              <a:gd name="T7" fmla="*/ 34592 h 524"/>
              <a:gd name="T8" fmla="*/ 108922 w 578"/>
              <a:gd name="T9" fmla="*/ 40881 h 524"/>
              <a:gd name="T10" fmla="*/ 106753 w 578"/>
              <a:gd name="T11" fmla="*/ 55032 h 524"/>
              <a:gd name="T12" fmla="*/ 109790 w 578"/>
              <a:gd name="T13" fmla="*/ 80190 h 524"/>
              <a:gd name="T14" fmla="*/ 117167 w 578"/>
              <a:gd name="T15" fmla="*/ 90148 h 524"/>
              <a:gd name="T16" fmla="*/ 124545 w 578"/>
              <a:gd name="T17" fmla="*/ 93293 h 524"/>
              <a:gd name="T18" fmla="*/ 129318 w 578"/>
              <a:gd name="T19" fmla="*/ 100106 h 524"/>
              <a:gd name="T20" fmla="*/ 152318 w 578"/>
              <a:gd name="T21" fmla="*/ 117926 h 524"/>
              <a:gd name="T22" fmla="*/ 194845 w 578"/>
              <a:gd name="T23" fmla="*/ 161952 h 524"/>
              <a:gd name="T24" fmla="*/ 206996 w 578"/>
              <a:gd name="T25" fmla="*/ 168765 h 524"/>
              <a:gd name="T26" fmla="*/ 218712 w 578"/>
              <a:gd name="T27" fmla="*/ 171910 h 524"/>
              <a:gd name="T28" fmla="*/ 232599 w 578"/>
              <a:gd name="T29" fmla="*/ 186585 h 524"/>
              <a:gd name="T30" fmla="*/ 250825 w 578"/>
              <a:gd name="T31" fmla="*/ 197068 h 524"/>
              <a:gd name="T32" fmla="*/ 245184 w 578"/>
              <a:gd name="T33" fmla="*/ 213315 h 524"/>
              <a:gd name="T34" fmla="*/ 228259 w 578"/>
              <a:gd name="T35" fmla="*/ 200737 h 524"/>
              <a:gd name="T36" fmla="*/ 220448 w 578"/>
              <a:gd name="T37" fmla="*/ 197068 h 524"/>
              <a:gd name="T38" fmla="*/ 216109 w 578"/>
              <a:gd name="T39" fmla="*/ 208074 h 524"/>
              <a:gd name="T40" fmla="*/ 219580 w 578"/>
              <a:gd name="T41" fmla="*/ 223274 h 524"/>
              <a:gd name="T42" fmla="*/ 223052 w 578"/>
              <a:gd name="T43" fmla="*/ 231659 h 524"/>
              <a:gd name="T44" fmla="*/ 216977 w 578"/>
              <a:gd name="T45" fmla="*/ 245286 h 524"/>
              <a:gd name="T46" fmla="*/ 209599 w 578"/>
              <a:gd name="T47" fmla="*/ 264679 h 524"/>
              <a:gd name="T48" fmla="*/ 201788 w 578"/>
              <a:gd name="T49" fmla="*/ 273589 h 524"/>
              <a:gd name="T50" fmla="*/ 189204 w 578"/>
              <a:gd name="T51" fmla="*/ 264679 h 524"/>
              <a:gd name="T52" fmla="*/ 197883 w 578"/>
              <a:gd name="T53" fmla="*/ 253672 h 524"/>
              <a:gd name="T54" fmla="*/ 201788 w 578"/>
              <a:gd name="T55" fmla="*/ 244762 h 524"/>
              <a:gd name="T56" fmla="*/ 200052 w 578"/>
              <a:gd name="T57" fmla="*/ 231135 h 524"/>
              <a:gd name="T58" fmla="*/ 185298 w 578"/>
              <a:gd name="T59" fmla="*/ 207026 h 524"/>
              <a:gd name="T60" fmla="*/ 167072 w 578"/>
              <a:gd name="T61" fmla="*/ 193399 h 524"/>
              <a:gd name="T62" fmla="*/ 154053 w 578"/>
              <a:gd name="T63" fmla="*/ 186585 h 524"/>
              <a:gd name="T64" fmla="*/ 137997 w 578"/>
              <a:gd name="T65" fmla="*/ 172958 h 524"/>
              <a:gd name="T66" fmla="*/ 116299 w 578"/>
              <a:gd name="T67" fmla="*/ 165097 h 524"/>
              <a:gd name="T68" fmla="*/ 94602 w 578"/>
              <a:gd name="T69" fmla="*/ 149373 h 524"/>
              <a:gd name="T70" fmla="*/ 70300 w 578"/>
              <a:gd name="T71" fmla="*/ 120023 h 524"/>
              <a:gd name="T72" fmla="*/ 54678 w 578"/>
              <a:gd name="T73" fmla="*/ 88052 h 524"/>
              <a:gd name="T74" fmla="*/ 33414 w 578"/>
              <a:gd name="T75" fmla="*/ 80714 h 524"/>
              <a:gd name="T76" fmla="*/ 22132 w 578"/>
              <a:gd name="T77" fmla="*/ 82286 h 524"/>
              <a:gd name="T78" fmla="*/ 6509 w 578"/>
              <a:gd name="T79" fmla="*/ 86479 h 524"/>
              <a:gd name="T80" fmla="*/ 1302 w 578"/>
              <a:gd name="T81" fmla="*/ 69707 h 524"/>
              <a:gd name="T82" fmla="*/ 434 w 578"/>
              <a:gd name="T83" fmla="*/ 48743 h 524"/>
              <a:gd name="T84" fmla="*/ 2604 w 578"/>
              <a:gd name="T85" fmla="*/ 25682 h 524"/>
              <a:gd name="T86" fmla="*/ 19528 w 578"/>
              <a:gd name="T87" fmla="*/ 21489 h 524"/>
              <a:gd name="T88" fmla="*/ 29509 w 578"/>
              <a:gd name="T89" fmla="*/ 17296 h 524"/>
              <a:gd name="T90" fmla="*/ 36018 w 578"/>
              <a:gd name="T91" fmla="*/ 25158 h 524"/>
              <a:gd name="T92" fmla="*/ 45131 w 578"/>
              <a:gd name="T93" fmla="*/ 23061 h 524"/>
              <a:gd name="T94" fmla="*/ 64659 w 578"/>
              <a:gd name="T95" fmla="*/ 8386 h 524"/>
              <a:gd name="T96" fmla="*/ 103715 w 578"/>
              <a:gd name="T97" fmla="*/ 0 h 524"/>
              <a:gd name="T98" fmla="*/ 111526 w 578"/>
              <a:gd name="T99" fmla="*/ 6814 h 524"/>
              <a:gd name="T100" fmla="*/ 144072 w 578"/>
              <a:gd name="T101" fmla="*/ 9958 h 524"/>
              <a:gd name="T102" fmla="*/ 139733 w 578"/>
              <a:gd name="T103" fmla="*/ 34068 h 524"/>
              <a:gd name="T104" fmla="*/ 141035 w 578"/>
              <a:gd name="T105" fmla="*/ 47170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4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19090 h 160"/>
              <a:gd name="T2" fmla="*/ 2532 w 79"/>
              <a:gd name="T3" fmla="*/ 19090 h 160"/>
              <a:gd name="T4" fmla="*/ 4642 w 79"/>
              <a:gd name="T5" fmla="*/ 18574 h 160"/>
              <a:gd name="T6" fmla="*/ 6752 w 79"/>
              <a:gd name="T7" fmla="*/ 18058 h 160"/>
              <a:gd name="T8" fmla="*/ 8018 w 79"/>
              <a:gd name="T9" fmla="*/ 17026 h 160"/>
              <a:gd name="T10" fmla="*/ 10972 w 79"/>
              <a:gd name="T11" fmla="*/ 14446 h 160"/>
              <a:gd name="T12" fmla="*/ 13082 w 79"/>
              <a:gd name="T13" fmla="*/ 11351 h 160"/>
              <a:gd name="T14" fmla="*/ 15614 w 79"/>
              <a:gd name="T15" fmla="*/ 8255 h 160"/>
              <a:gd name="T16" fmla="*/ 17302 w 79"/>
              <a:gd name="T17" fmla="*/ 5159 h 160"/>
              <a:gd name="T18" fmla="*/ 19412 w 79"/>
              <a:gd name="T19" fmla="*/ 2580 h 160"/>
              <a:gd name="T20" fmla="*/ 22366 w 79"/>
              <a:gd name="T21" fmla="*/ 0 h 160"/>
              <a:gd name="T22" fmla="*/ 24054 w 79"/>
              <a:gd name="T23" fmla="*/ 1548 h 160"/>
              <a:gd name="T24" fmla="*/ 26164 w 79"/>
              <a:gd name="T25" fmla="*/ 3612 h 160"/>
              <a:gd name="T26" fmla="*/ 27008 w 79"/>
              <a:gd name="T27" fmla="*/ 5159 h 160"/>
              <a:gd name="T28" fmla="*/ 27852 w 79"/>
              <a:gd name="T29" fmla="*/ 7223 h 160"/>
              <a:gd name="T30" fmla="*/ 29118 w 79"/>
              <a:gd name="T31" fmla="*/ 11351 h 160"/>
              <a:gd name="T32" fmla="*/ 30384 w 79"/>
              <a:gd name="T33" fmla="*/ 16510 h 160"/>
              <a:gd name="T34" fmla="*/ 30806 w 79"/>
              <a:gd name="T35" fmla="*/ 20638 h 160"/>
              <a:gd name="T36" fmla="*/ 31228 w 79"/>
              <a:gd name="T37" fmla="*/ 25281 h 160"/>
              <a:gd name="T38" fmla="*/ 32072 w 79"/>
              <a:gd name="T39" fmla="*/ 29924 h 160"/>
              <a:gd name="T40" fmla="*/ 33338 w 79"/>
              <a:gd name="T41" fmla="*/ 34568 h 160"/>
              <a:gd name="T42" fmla="*/ 33338 w 79"/>
              <a:gd name="T43" fmla="*/ 50562 h 160"/>
              <a:gd name="T44" fmla="*/ 28696 w 79"/>
              <a:gd name="T45" fmla="*/ 59333 h 160"/>
              <a:gd name="T46" fmla="*/ 24898 w 79"/>
              <a:gd name="T47" fmla="*/ 66556 h 160"/>
              <a:gd name="T48" fmla="*/ 22366 w 79"/>
              <a:gd name="T49" fmla="*/ 70168 h 160"/>
              <a:gd name="T50" fmla="*/ 21100 w 79"/>
              <a:gd name="T51" fmla="*/ 74295 h 160"/>
              <a:gd name="T52" fmla="*/ 20256 w 79"/>
              <a:gd name="T53" fmla="*/ 77907 h 160"/>
              <a:gd name="T54" fmla="*/ 19412 w 79"/>
              <a:gd name="T55" fmla="*/ 82550 h 160"/>
              <a:gd name="T56" fmla="*/ 16880 w 79"/>
              <a:gd name="T57" fmla="*/ 79970 h 160"/>
              <a:gd name="T58" fmla="*/ 13926 w 79"/>
              <a:gd name="T59" fmla="*/ 77391 h 160"/>
              <a:gd name="T60" fmla="*/ 11816 w 79"/>
              <a:gd name="T61" fmla="*/ 74295 h 160"/>
              <a:gd name="T62" fmla="*/ 9284 w 79"/>
              <a:gd name="T63" fmla="*/ 70683 h 160"/>
              <a:gd name="T64" fmla="*/ 7596 w 79"/>
              <a:gd name="T65" fmla="*/ 67072 h 160"/>
              <a:gd name="T66" fmla="*/ 6330 w 79"/>
              <a:gd name="T67" fmla="*/ 63460 h 160"/>
              <a:gd name="T68" fmla="*/ 4642 w 79"/>
              <a:gd name="T69" fmla="*/ 59333 h 160"/>
              <a:gd name="T70" fmla="*/ 3376 w 79"/>
              <a:gd name="T71" fmla="*/ 55721 h 160"/>
              <a:gd name="T72" fmla="*/ 1688 w 79"/>
              <a:gd name="T73" fmla="*/ 46950 h 160"/>
              <a:gd name="T74" fmla="*/ 422 w 79"/>
              <a:gd name="T75" fmla="*/ 37663 h 160"/>
              <a:gd name="T76" fmla="*/ 0 w 79"/>
              <a:gd name="T77" fmla="*/ 28377 h 160"/>
              <a:gd name="T78" fmla="*/ 0 w 79"/>
              <a:gd name="T79" fmla="*/ 19090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065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</p:grpSpPr>
        <p:sp>
          <p:nvSpPr>
            <p:cNvPr id="2596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142 w 512"/>
                <a:gd name="T1" fmla="*/ 60 h 408"/>
                <a:gd name="T2" fmla="*/ 129 w 512"/>
                <a:gd name="T3" fmla="*/ 59 h 408"/>
                <a:gd name="T4" fmla="*/ 123 w 512"/>
                <a:gd name="T5" fmla="*/ 62 h 408"/>
                <a:gd name="T6" fmla="*/ 118 w 512"/>
                <a:gd name="T7" fmla="*/ 66 h 408"/>
                <a:gd name="T8" fmla="*/ 116 w 512"/>
                <a:gd name="T9" fmla="*/ 77 h 408"/>
                <a:gd name="T10" fmla="*/ 109 w 512"/>
                <a:gd name="T11" fmla="*/ 93 h 408"/>
                <a:gd name="T12" fmla="*/ 102 w 512"/>
                <a:gd name="T13" fmla="*/ 102 h 408"/>
                <a:gd name="T14" fmla="*/ 97 w 512"/>
                <a:gd name="T15" fmla="*/ 106 h 408"/>
                <a:gd name="T16" fmla="*/ 91 w 512"/>
                <a:gd name="T17" fmla="*/ 109 h 408"/>
                <a:gd name="T18" fmla="*/ 86 w 512"/>
                <a:gd name="T19" fmla="*/ 112 h 408"/>
                <a:gd name="T20" fmla="*/ 84 w 512"/>
                <a:gd name="T21" fmla="*/ 114 h 408"/>
                <a:gd name="T22" fmla="*/ 72 w 512"/>
                <a:gd name="T23" fmla="*/ 112 h 408"/>
                <a:gd name="T24" fmla="*/ 61 w 512"/>
                <a:gd name="T25" fmla="*/ 112 h 408"/>
                <a:gd name="T26" fmla="*/ 52 w 512"/>
                <a:gd name="T27" fmla="*/ 113 h 408"/>
                <a:gd name="T28" fmla="*/ 46 w 512"/>
                <a:gd name="T29" fmla="*/ 118 h 408"/>
                <a:gd name="T30" fmla="*/ 32 w 512"/>
                <a:gd name="T31" fmla="*/ 123 h 408"/>
                <a:gd name="T32" fmla="*/ 21 w 512"/>
                <a:gd name="T33" fmla="*/ 124 h 408"/>
                <a:gd name="T34" fmla="*/ 15 w 512"/>
                <a:gd name="T35" fmla="*/ 122 h 408"/>
                <a:gd name="T36" fmla="*/ 5 w 512"/>
                <a:gd name="T37" fmla="*/ 112 h 408"/>
                <a:gd name="T38" fmla="*/ 1 w 512"/>
                <a:gd name="T39" fmla="*/ 105 h 408"/>
                <a:gd name="T40" fmla="*/ 3 w 512"/>
                <a:gd name="T41" fmla="*/ 102 h 408"/>
                <a:gd name="T42" fmla="*/ 11 w 512"/>
                <a:gd name="T43" fmla="*/ 105 h 408"/>
                <a:gd name="T44" fmla="*/ 18 w 512"/>
                <a:gd name="T45" fmla="*/ 102 h 408"/>
                <a:gd name="T46" fmla="*/ 19 w 512"/>
                <a:gd name="T47" fmla="*/ 95 h 408"/>
                <a:gd name="T48" fmla="*/ 24 w 512"/>
                <a:gd name="T49" fmla="*/ 91 h 408"/>
                <a:gd name="T50" fmla="*/ 27 w 512"/>
                <a:gd name="T51" fmla="*/ 87 h 408"/>
                <a:gd name="T52" fmla="*/ 30 w 512"/>
                <a:gd name="T53" fmla="*/ 83 h 408"/>
                <a:gd name="T54" fmla="*/ 34 w 512"/>
                <a:gd name="T55" fmla="*/ 80 h 408"/>
                <a:gd name="T56" fmla="*/ 46 w 512"/>
                <a:gd name="T57" fmla="*/ 75 h 408"/>
                <a:gd name="T58" fmla="*/ 58 w 512"/>
                <a:gd name="T59" fmla="*/ 71 h 408"/>
                <a:gd name="T60" fmla="*/ 67 w 512"/>
                <a:gd name="T61" fmla="*/ 66 h 408"/>
                <a:gd name="T62" fmla="*/ 71 w 512"/>
                <a:gd name="T63" fmla="*/ 62 h 408"/>
                <a:gd name="T64" fmla="*/ 73 w 512"/>
                <a:gd name="T65" fmla="*/ 58 h 408"/>
                <a:gd name="T66" fmla="*/ 76 w 512"/>
                <a:gd name="T67" fmla="*/ 49 h 408"/>
                <a:gd name="T68" fmla="*/ 76 w 512"/>
                <a:gd name="T69" fmla="*/ 45 h 408"/>
                <a:gd name="T70" fmla="*/ 77 w 512"/>
                <a:gd name="T71" fmla="*/ 46 h 408"/>
                <a:gd name="T72" fmla="*/ 80 w 512"/>
                <a:gd name="T73" fmla="*/ 43 h 408"/>
                <a:gd name="T74" fmla="*/ 79 w 512"/>
                <a:gd name="T75" fmla="*/ 47 h 408"/>
                <a:gd name="T76" fmla="*/ 80 w 512"/>
                <a:gd name="T77" fmla="*/ 53 h 408"/>
                <a:gd name="T78" fmla="*/ 84 w 512"/>
                <a:gd name="T79" fmla="*/ 59 h 408"/>
                <a:gd name="T80" fmla="*/ 91 w 512"/>
                <a:gd name="T81" fmla="*/ 62 h 408"/>
                <a:gd name="T82" fmla="*/ 102 w 512"/>
                <a:gd name="T83" fmla="*/ 62 h 408"/>
                <a:gd name="T84" fmla="*/ 107 w 512"/>
                <a:gd name="T85" fmla="*/ 62 h 408"/>
                <a:gd name="T86" fmla="*/ 109 w 512"/>
                <a:gd name="T87" fmla="*/ 60 h 408"/>
                <a:gd name="T88" fmla="*/ 108 w 512"/>
                <a:gd name="T89" fmla="*/ 53 h 408"/>
                <a:gd name="T90" fmla="*/ 100 w 512"/>
                <a:gd name="T91" fmla="*/ 40 h 408"/>
                <a:gd name="T92" fmla="*/ 107 w 512"/>
                <a:gd name="T93" fmla="*/ 33 h 408"/>
                <a:gd name="T94" fmla="*/ 115 w 512"/>
                <a:gd name="T95" fmla="*/ 20 h 408"/>
                <a:gd name="T96" fmla="*/ 125 w 512"/>
                <a:gd name="T97" fmla="*/ 7 h 408"/>
                <a:gd name="T98" fmla="*/ 133 w 512"/>
                <a:gd name="T99" fmla="*/ 0 h 408"/>
                <a:gd name="T100" fmla="*/ 134 w 512"/>
                <a:gd name="T101" fmla="*/ 7 h 408"/>
                <a:gd name="T102" fmla="*/ 138 w 512"/>
                <a:gd name="T103" fmla="*/ 15 h 408"/>
                <a:gd name="T104" fmla="*/ 147 w 512"/>
                <a:gd name="T105" fmla="*/ 23 h 408"/>
                <a:gd name="T106" fmla="*/ 162 w 512"/>
                <a:gd name="T107" fmla="*/ 32 h 408"/>
                <a:gd name="T108" fmla="*/ 170 w 512"/>
                <a:gd name="T109" fmla="*/ 40 h 408"/>
                <a:gd name="T110" fmla="*/ 167 w 512"/>
                <a:gd name="T111" fmla="*/ 45 h 408"/>
                <a:gd name="T112" fmla="*/ 160 w 512"/>
                <a:gd name="T113" fmla="*/ 46 h 408"/>
                <a:gd name="T114" fmla="*/ 153 w 512"/>
                <a:gd name="T115" fmla="*/ 55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97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50 w 232"/>
                <a:gd name="T1" fmla="*/ 7 h 289"/>
                <a:gd name="T2" fmla="*/ 55 w 232"/>
                <a:gd name="T3" fmla="*/ 15 h 289"/>
                <a:gd name="T4" fmla="*/ 58 w 232"/>
                <a:gd name="T5" fmla="*/ 17 h 289"/>
                <a:gd name="T6" fmla="*/ 60 w 232"/>
                <a:gd name="T7" fmla="*/ 18 h 289"/>
                <a:gd name="T8" fmla="*/ 62 w 232"/>
                <a:gd name="T9" fmla="*/ 51 h 289"/>
                <a:gd name="T10" fmla="*/ 63 w 232"/>
                <a:gd name="T11" fmla="*/ 60 h 289"/>
                <a:gd name="T12" fmla="*/ 64 w 232"/>
                <a:gd name="T13" fmla="*/ 64 h 289"/>
                <a:gd name="T14" fmla="*/ 66 w 232"/>
                <a:gd name="T15" fmla="*/ 67 h 289"/>
                <a:gd name="T16" fmla="*/ 77 w 232"/>
                <a:gd name="T17" fmla="*/ 76 h 289"/>
                <a:gd name="T18" fmla="*/ 73 w 232"/>
                <a:gd name="T19" fmla="*/ 89 h 289"/>
                <a:gd name="T20" fmla="*/ 62 w 232"/>
                <a:gd name="T21" fmla="*/ 87 h 289"/>
                <a:gd name="T22" fmla="*/ 50 w 232"/>
                <a:gd name="T23" fmla="*/ 81 h 289"/>
                <a:gd name="T24" fmla="*/ 38 w 232"/>
                <a:gd name="T25" fmla="*/ 72 h 289"/>
                <a:gd name="T26" fmla="*/ 27 w 232"/>
                <a:gd name="T27" fmla="*/ 64 h 289"/>
                <a:gd name="T28" fmla="*/ 19 w 232"/>
                <a:gd name="T29" fmla="*/ 54 h 289"/>
                <a:gd name="T30" fmla="*/ 10 w 232"/>
                <a:gd name="T31" fmla="*/ 45 h 289"/>
                <a:gd name="T32" fmla="*/ 3 w 232"/>
                <a:gd name="T33" fmla="*/ 39 h 289"/>
                <a:gd name="T34" fmla="*/ 1 w 232"/>
                <a:gd name="T35" fmla="*/ 36 h 289"/>
                <a:gd name="T36" fmla="*/ 0 w 232"/>
                <a:gd name="T37" fmla="*/ 34 h 289"/>
                <a:gd name="T38" fmla="*/ 0 w 232"/>
                <a:gd name="T39" fmla="*/ 31 h 289"/>
                <a:gd name="T40" fmla="*/ 1 w 232"/>
                <a:gd name="T41" fmla="*/ 28 h 289"/>
                <a:gd name="T42" fmla="*/ 4 w 232"/>
                <a:gd name="T43" fmla="*/ 24 h 289"/>
                <a:gd name="T44" fmla="*/ 4 w 232"/>
                <a:gd name="T45" fmla="*/ 16 h 289"/>
                <a:gd name="T46" fmla="*/ 2 w 232"/>
                <a:gd name="T47" fmla="*/ 5 h 289"/>
                <a:gd name="T48" fmla="*/ 4 w 232"/>
                <a:gd name="T49" fmla="*/ 0 h 289"/>
                <a:gd name="T50" fmla="*/ 9 w 232"/>
                <a:gd name="T51" fmla="*/ 1 h 289"/>
                <a:gd name="T52" fmla="*/ 14 w 232"/>
                <a:gd name="T53" fmla="*/ 3 h 289"/>
                <a:gd name="T54" fmla="*/ 20 w 232"/>
                <a:gd name="T55" fmla="*/ 6 h 289"/>
                <a:gd name="T56" fmla="*/ 24 w 232"/>
                <a:gd name="T57" fmla="*/ 9 h 289"/>
                <a:gd name="T58" fmla="*/ 27 w 232"/>
                <a:gd name="T59" fmla="*/ 10 h 289"/>
                <a:gd name="T60" fmla="*/ 30 w 232"/>
                <a:gd name="T61" fmla="*/ 10 h 289"/>
                <a:gd name="T62" fmla="*/ 35 w 232"/>
                <a:gd name="T63" fmla="*/ 8 h 289"/>
                <a:gd name="T64" fmla="*/ 40 w 232"/>
                <a:gd name="T65" fmla="*/ 6 h 289"/>
                <a:gd name="T66" fmla="*/ 44 w 232"/>
                <a:gd name="T67" fmla="*/ 3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66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315287 w 7049"/>
              <a:gd name="T1" fmla="*/ 909433 h 2048"/>
              <a:gd name="T2" fmla="*/ 465321 w 7049"/>
              <a:gd name="T3" fmla="*/ 1016487 h 2048"/>
              <a:gd name="T4" fmla="*/ 527073 w 7049"/>
              <a:gd name="T5" fmla="*/ 951940 h 2048"/>
              <a:gd name="T6" fmla="*/ 727987 w 7049"/>
              <a:gd name="T7" fmla="*/ 770893 h 2048"/>
              <a:gd name="T8" fmla="*/ 1138513 w 7049"/>
              <a:gd name="T9" fmla="*/ 690078 h 2048"/>
              <a:gd name="T10" fmla="*/ 1456845 w 7049"/>
              <a:gd name="T11" fmla="*/ 784012 h 2048"/>
              <a:gd name="T12" fmla="*/ 1598615 w 7049"/>
              <a:gd name="T13" fmla="*/ 754625 h 2048"/>
              <a:gd name="T14" fmla="*/ 1798660 w 7049"/>
              <a:gd name="T15" fmla="*/ 782963 h 2048"/>
              <a:gd name="T16" fmla="*/ 1990441 w 7049"/>
              <a:gd name="T17" fmla="*/ 791884 h 2048"/>
              <a:gd name="T18" fmla="*/ 2069589 w 7049"/>
              <a:gd name="T19" fmla="*/ 719990 h 2048"/>
              <a:gd name="T20" fmla="*/ 2242236 w 7049"/>
              <a:gd name="T21" fmla="*/ 774566 h 2048"/>
              <a:gd name="T22" fmla="*/ 2441411 w 7049"/>
              <a:gd name="T23" fmla="*/ 838589 h 2048"/>
              <a:gd name="T24" fmla="*/ 2437062 w 7049"/>
              <a:gd name="T25" fmla="*/ 967683 h 2048"/>
              <a:gd name="T26" fmla="*/ 2545347 w 7049"/>
              <a:gd name="T27" fmla="*/ 845936 h 2048"/>
              <a:gd name="T28" fmla="*/ 2422276 w 7049"/>
              <a:gd name="T29" fmla="*/ 659116 h 2048"/>
              <a:gd name="T30" fmla="*/ 2318340 w 7049"/>
              <a:gd name="T31" fmla="*/ 601916 h 2048"/>
              <a:gd name="T32" fmla="*/ 2547086 w 7049"/>
              <a:gd name="T33" fmla="*/ 515328 h 2048"/>
              <a:gd name="T34" fmla="*/ 2597967 w 7049"/>
              <a:gd name="T35" fmla="*/ 431364 h 2048"/>
              <a:gd name="T36" fmla="*/ 2666678 w 7049"/>
              <a:gd name="T37" fmla="*/ 399353 h 2048"/>
              <a:gd name="T38" fmla="*/ 2694075 w 7049"/>
              <a:gd name="T39" fmla="*/ 511130 h 2048"/>
              <a:gd name="T40" fmla="*/ 2762351 w 7049"/>
              <a:gd name="T41" fmla="*/ 656492 h 2048"/>
              <a:gd name="T42" fmla="*/ 2859329 w 7049"/>
              <a:gd name="T43" fmla="*/ 739931 h 2048"/>
              <a:gd name="T44" fmla="*/ 2855415 w 7049"/>
              <a:gd name="T45" fmla="*/ 637076 h 2048"/>
              <a:gd name="T46" fmla="*/ 2771484 w 7049"/>
              <a:gd name="T47" fmla="*/ 544191 h 2048"/>
              <a:gd name="T48" fmla="*/ 2847153 w 7049"/>
              <a:gd name="T49" fmla="*/ 464425 h 2048"/>
              <a:gd name="T50" fmla="*/ 2957612 w 7049"/>
              <a:gd name="T51" fmla="*/ 411423 h 2048"/>
              <a:gd name="T52" fmla="*/ 2882378 w 7049"/>
              <a:gd name="T53" fmla="*/ 324310 h 2048"/>
              <a:gd name="T54" fmla="*/ 2956742 w 7049"/>
              <a:gd name="T55" fmla="*/ 333756 h 2048"/>
              <a:gd name="T56" fmla="*/ 2983705 w 7049"/>
              <a:gd name="T57" fmla="*/ 284952 h 2048"/>
              <a:gd name="T58" fmla="*/ 2826713 w 7049"/>
              <a:gd name="T59" fmla="*/ 242446 h 2048"/>
              <a:gd name="T60" fmla="*/ 2540998 w 7049"/>
              <a:gd name="T61" fmla="*/ 215157 h 2048"/>
              <a:gd name="T62" fmla="*/ 2475766 w 7049"/>
              <a:gd name="T63" fmla="*/ 217781 h 2048"/>
              <a:gd name="T64" fmla="*/ 2170481 w 7049"/>
              <a:gd name="T65" fmla="*/ 184196 h 2048"/>
              <a:gd name="T66" fmla="*/ 2056108 w 7049"/>
              <a:gd name="T67" fmla="*/ 152184 h 2048"/>
              <a:gd name="T68" fmla="*/ 1918686 w 7049"/>
              <a:gd name="T69" fmla="*/ 152184 h 2048"/>
              <a:gd name="T70" fmla="*/ 1743430 w 7049"/>
              <a:gd name="T71" fmla="*/ 166878 h 2048"/>
              <a:gd name="T72" fmla="*/ 1554258 w 7049"/>
              <a:gd name="T73" fmla="*/ 136966 h 2048"/>
              <a:gd name="T74" fmla="*/ 1430752 w 7049"/>
              <a:gd name="T75" fmla="*/ 128045 h 2048"/>
              <a:gd name="T76" fmla="*/ 1308116 w 7049"/>
              <a:gd name="T77" fmla="*/ 123322 h 2048"/>
              <a:gd name="T78" fmla="*/ 1184610 w 7049"/>
              <a:gd name="T79" fmla="*/ 30437 h 2048"/>
              <a:gd name="T80" fmla="*/ 1138078 w 7049"/>
              <a:gd name="T81" fmla="*/ 73468 h 2048"/>
              <a:gd name="T82" fmla="*/ 928032 w 7049"/>
              <a:gd name="T83" fmla="*/ 87637 h 2048"/>
              <a:gd name="T84" fmla="*/ 938904 w 7049"/>
              <a:gd name="T85" fmla="*/ 104955 h 2048"/>
              <a:gd name="T86" fmla="*/ 955864 w 7049"/>
              <a:gd name="T87" fmla="*/ 179473 h 2048"/>
              <a:gd name="T88" fmla="*/ 840621 w 7049"/>
              <a:gd name="T89" fmla="*/ 134342 h 2048"/>
              <a:gd name="T90" fmla="*/ 777129 w 7049"/>
              <a:gd name="T91" fmla="*/ 143263 h 2048"/>
              <a:gd name="T92" fmla="*/ 833663 w 7049"/>
              <a:gd name="T93" fmla="*/ 234049 h 2048"/>
              <a:gd name="T94" fmla="*/ 902809 w 7049"/>
              <a:gd name="T95" fmla="*/ 277605 h 2048"/>
              <a:gd name="T96" fmla="*/ 818877 w 7049"/>
              <a:gd name="T97" fmla="*/ 311191 h 2048"/>
              <a:gd name="T98" fmla="*/ 796698 w 7049"/>
              <a:gd name="T99" fmla="*/ 243495 h 2048"/>
              <a:gd name="T100" fmla="*/ 704939 w 7049"/>
              <a:gd name="T101" fmla="*/ 121223 h 2048"/>
              <a:gd name="T102" fmla="*/ 705809 w 7049"/>
              <a:gd name="T103" fmla="*/ 236673 h 2048"/>
              <a:gd name="T104" fmla="*/ 538380 w 7049"/>
              <a:gd name="T105" fmla="*/ 208335 h 2048"/>
              <a:gd name="T106" fmla="*/ 520985 w 7049"/>
              <a:gd name="T107" fmla="*/ 250317 h 2048"/>
              <a:gd name="T108" fmla="*/ 394870 w 7049"/>
              <a:gd name="T109" fmla="*/ 262387 h 2048"/>
              <a:gd name="T110" fmla="*/ 300936 w 7049"/>
              <a:gd name="T111" fmla="*/ 253466 h 2048"/>
              <a:gd name="T112" fmla="*/ 261797 w 7049"/>
              <a:gd name="T113" fmla="*/ 306993 h 2048"/>
              <a:gd name="T114" fmla="*/ 176996 w 7049"/>
              <a:gd name="T115" fmla="*/ 387808 h 2048"/>
              <a:gd name="T116" fmla="*/ 169603 w 7049"/>
              <a:gd name="T117" fmla="*/ 321162 h 2048"/>
              <a:gd name="T118" fmla="*/ 65232 w 7049"/>
              <a:gd name="T119" fmla="*/ 230901 h 2048"/>
              <a:gd name="T120" fmla="*/ 30876 w 7049"/>
              <a:gd name="T121" fmla="*/ 317488 h 2048"/>
              <a:gd name="T122" fmla="*/ 48706 w 7049"/>
              <a:gd name="T123" fmla="*/ 502733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7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833813" y="2274888"/>
            <a:ext cx="280987" cy="247650"/>
          </a:xfrm>
          <a:custGeom>
            <a:avLst/>
            <a:gdLst>
              <a:gd name="T0" fmla="*/ 176323 w 647"/>
              <a:gd name="T1" fmla="*/ 14227 h 470"/>
              <a:gd name="T2" fmla="*/ 185877 w 647"/>
              <a:gd name="T3" fmla="*/ 23711 h 470"/>
              <a:gd name="T4" fmla="*/ 198906 w 647"/>
              <a:gd name="T5" fmla="*/ 31615 h 470"/>
              <a:gd name="T6" fmla="*/ 222358 w 647"/>
              <a:gd name="T7" fmla="*/ 41099 h 470"/>
              <a:gd name="T8" fmla="*/ 233649 w 647"/>
              <a:gd name="T9" fmla="*/ 42680 h 470"/>
              <a:gd name="T10" fmla="*/ 244072 w 647"/>
              <a:gd name="T11" fmla="*/ 52165 h 470"/>
              <a:gd name="T12" fmla="*/ 246244 w 647"/>
              <a:gd name="T13" fmla="*/ 51111 h 470"/>
              <a:gd name="T14" fmla="*/ 249718 w 647"/>
              <a:gd name="T15" fmla="*/ 44788 h 470"/>
              <a:gd name="T16" fmla="*/ 253192 w 647"/>
              <a:gd name="T17" fmla="*/ 41099 h 470"/>
              <a:gd name="T18" fmla="*/ 261878 w 647"/>
              <a:gd name="T19" fmla="*/ 42153 h 470"/>
              <a:gd name="T20" fmla="*/ 270998 w 647"/>
              <a:gd name="T21" fmla="*/ 41626 h 470"/>
              <a:gd name="T22" fmla="*/ 277947 w 647"/>
              <a:gd name="T23" fmla="*/ 44261 h 470"/>
              <a:gd name="T24" fmla="*/ 280553 w 647"/>
              <a:gd name="T25" fmla="*/ 54272 h 470"/>
              <a:gd name="T26" fmla="*/ 280553 w 647"/>
              <a:gd name="T27" fmla="*/ 64811 h 470"/>
              <a:gd name="T28" fmla="*/ 268393 w 647"/>
              <a:gd name="T29" fmla="*/ 69026 h 470"/>
              <a:gd name="T30" fmla="*/ 254495 w 647"/>
              <a:gd name="T31" fmla="*/ 76930 h 470"/>
              <a:gd name="T32" fmla="*/ 243204 w 647"/>
              <a:gd name="T33" fmla="*/ 86941 h 470"/>
              <a:gd name="T34" fmla="*/ 218883 w 647"/>
              <a:gd name="T35" fmla="*/ 112760 h 470"/>
              <a:gd name="T36" fmla="*/ 212369 w 647"/>
              <a:gd name="T37" fmla="*/ 119610 h 470"/>
              <a:gd name="T38" fmla="*/ 205854 w 647"/>
              <a:gd name="T39" fmla="*/ 133836 h 470"/>
              <a:gd name="T40" fmla="*/ 205420 w 647"/>
              <a:gd name="T41" fmla="*/ 148590 h 470"/>
              <a:gd name="T42" fmla="*/ 205420 w 647"/>
              <a:gd name="T43" fmla="*/ 163871 h 470"/>
              <a:gd name="T44" fmla="*/ 201077 w 647"/>
              <a:gd name="T45" fmla="*/ 179151 h 470"/>
              <a:gd name="T46" fmla="*/ 195431 w 647"/>
              <a:gd name="T47" fmla="*/ 186528 h 470"/>
              <a:gd name="T48" fmla="*/ 178494 w 647"/>
              <a:gd name="T49" fmla="*/ 202335 h 470"/>
              <a:gd name="T50" fmla="*/ 166334 w 647"/>
              <a:gd name="T51" fmla="*/ 216562 h 470"/>
              <a:gd name="T52" fmla="*/ 162425 w 647"/>
              <a:gd name="T53" fmla="*/ 223939 h 470"/>
              <a:gd name="T54" fmla="*/ 160254 w 647"/>
              <a:gd name="T55" fmla="*/ 227627 h 470"/>
              <a:gd name="T56" fmla="*/ 134631 w 647"/>
              <a:gd name="T57" fmla="*/ 226046 h 470"/>
              <a:gd name="T58" fmla="*/ 111613 w 647"/>
              <a:gd name="T59" fmla="*/ 228681 h 470"/>
              <a:gd name="T60" fmla="*/ 97281 w 647"/>
              <a:gd name="T61" fmla="*/ 235004 h 470"/>
              <a:gd name="T62" fmla="*/ 83818 w 647"/>
              <a:gd name="T63" fmla="*/ 246069 h 470"/>
              <a:gd name="T64" fmla="*/ 77738 w 647"/>
              <a:gd name="T65" fmla="*/ 247123 h 470"/>
              <a:gd name="T66" fmla="*/ 73395 w 647"/>
              <a:gd name="T67" fmla="*/ 242908 h 470"/>
              <a:gd name="T68" fmla="*/ 66447 w 647"/>
              <a:gd name="T69" fmla="*/ 227627 h 470"/>
              <a:gd name="T70" fmla="*/ 60801 w 647"/>
              <a:gd name="T71" fmla="*/ 218143 h 470"/>
              <a:gd name="T72" fmla="*/ 52984 w 647"/>
              <a:gd name="T73" fmla="*/ 210766 h 470"/>
              <a:gd name="T74" fmla="*/ 49509 w 647"/>
              <a:gd name="T75" fmla="*/ 199701 h 470"/>
              <a:gd name="T76" fmla="*/ 54721 w 647"/>
              <a:gd name="T77" fmla="*/ 177043 h 470"/>
              <a:gd name="T78" fmla="*/ 55155 w 647"/>
              <a:gd name="T79" fmla="*/ 140686 h 470"/>
              <a:gd name="T80" fmla="*/ 63841 w 647"/>
              <a:gd name="T81" fmla="*/ 108544 h 470"/>
              <a:gd name="T82" fmla="*/ 72961 w 647"/>
              <a:gd name="T83" fmla="*/ 78510 h 470"/>
              <a:gd name="T84" fmla="*/ 74698 w 647"/>
              <a:gd name="T85" fmla="*/ 69026 h 470"/>
              <a:gd name="T86" fmla="*/ 50378 w 647"/>
              <a:gd name="T87" fmla="*/ 64811 h 470"/>
              <a:gd name="T88" fmla="*/ 26926 w 647"/>
              <a:gd name="T89" fmla="*/ 57434 h 470"/>
              <a:gd name="T90" fmla="*/ 7383 w 647"/>
              <a:gd name="T91" fmla="*/ 49003 h 470"/>
              <a:gd name="T92" fmla="*/ 0 w 647"/>
              <a:gd name="T93" fmla="*/ 20023 h 470"/>
              <a:gd name="T94" fmla="*/ 9989 w 647"/>
              <a:gd name="T95" fmla="*/ 17915 h 470"/>
              <a:gd name="T96" fmla="*/ 22149 w 647"/>
              <a:gd name="T97" fmla="*/ 10538 h 470"/>
              <a:gd name="T98" fmla="*/ 31703 w 647"/>
              <a:gd name="T99" fmla="*/ 2108 h 470"/>
              <a:gd name="T100" fmla="*/ 37349 w 647"/>
              <a:gd name="T101" fmla="*/ 0 h 470"/>
              <a:gd name="T102" fmla="*/ 57327 w 647"/>
              <a:gd name="T103" fmla="*/ 3688 h 470"/>
              <a:gd name="T104" fmla="*/ 74264 w 647"/>
              <a:gd name="T105" fmla="*/ 8958 h 470"/>
              <a:gd name="T106" fmla="*/ 90767 w 647"/>
              <a:gd name="T107" fmla="*/ 10538 h 470"/>
              <a:gd name="T108" fmla="*/ 102059 w 647"/>
              <a:gd name="T109" fmla="*/ 15281 h 470"/>
              <a:gd name="T110" fmla="*/ 112047 w 647"/>
              <a:gd name="T111" fmla="*/ 19496 h 470"/>
              <a:gd name="T112" fmla="*/ 167202 w 647"/>
              <a:gd name="T113" fmla="*/ 13700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8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164546 w 479"/>
              <a:gd name="T1" fmla="*/ 187389 h 868"/>
              <a:gd name="T2" fmla="*/ 144575 w 479"/>
              <a:gd name="T3" fmla="*/ 194213 h 868"/>
              <a:gd name="T4" fmla="*/ 136326 w 479"/>
              <a:gd name="T5" fmla="*/ 204711 h 868"/>
              <a:gd name="T6" fmla="*/ 137194 w 479"/>
              <a:gd name="T7" fmla="*/ 224657 h 868"/>
              <a:gd name="T8" fmla="*/ 152824 w 479"/>
              <a:gd name="T9" fmla="*/ 258251 h 868"/>
              <a:gd name="T10" fmla="*/ 155863 w 479"/>
              <a:gd name="T11" fmla="*/ 278197 h 868"/>
              <a:gd name="T12" fmla="*/ 158902 w 479"/>
              <a:gd name="T13" fmla="*/ 291319 h 868"/>
              <a:gd name="T14" fmla="*/ 140233 w 479"/>
              <a:gd name="T15" fmla="*/ 276097 h 868"/>
              <a:gd name="T16" fmla="*/ 134155 w 479"/>
              <a:gd name="T17" fmla="*/ 258251 h 868"/>
              <a:gd name="T18" fmla="*/ 116789 w 479"/>
              <a:gd name="T19" fmla="*/ 245128 h 868"/>
              <a:gd name="T20" fmla="*/ 91173 w 479"/>
              <a:gd name="T21" fmla="*/ 230431 h 868"/>
              <a:gd name="T22" fmla="*/ 83793 w 479"/>
              <a:gd name="T23" fmla="*/ 213109 h 868"/>
              <a:gd name="T24" fmla="*/ 67729 w 479"/>
              <a:gd name="T25" fmla="*/ 250377 h 868"/>
              <a:gd name="T26" fmla="*/ 67729 w 479"/>
              <a:gd name="T27" fmla="*/ 275047 h 868"/>
              <a:gd name="T28" fmla="*/ 57309 w 479"/>
              <a:gd name="T29" fmla="*/ 301817 h 868"/>
              <a:gd name="T30" fmla="*/ 55572 w 479"/>
              <a:gd name="T31" fmla="*/ 325963 h 868"/>
              <a:gd name="T32" fmla="*/ 66860 w 479"/>
              <a:gd name="T33" fmla="*/ 341185 h 868"/>
              <a:gd name="T34" fmla="*/ 75978 w 479"/>
              <a:gd name="T35" fmla="*/ 359556 h 868"/>
              <a:gd name="T36" fmla="*/ 80319 w 479"/>
              <a:gd name="T37" fmla="*/ 383177 h 868"/>
              <a:gd name="T38" fmla="*/ 98120 w 479"/>
              <a:gd name="T39" fmla="*/ 409422 h 868"/>
              <a:gd name="T40" fmla="*/ 121999 w 479"/>
              <a:gd name="T41" fmla="*/ 433042 h 868"/>
              <a:gd name="T42" fmla="*/ 147614 w 479"/>
              <a:gd name="T43" fmla="*/ 446165 h 868"/>
              <a:gd name="T44" fmla="*/ 129379 w 479"/>
              <a:gd name="T45" fmla="*/ 455088 h 868"/>
              <a:gd name="T46" fmla="*/ 116789 w 479"/>
              <a:gd name="T47" fmla="*/ 453513 h 868"/>
              <a:gd name="T48" fmla="*/ 99422 w 479"/>
              <a:gd name="T49" fmla="*/ 441441 h 868"/>
              <a:gd name="T50" fmla="*/ 86832 w 479"/>
              <a:gd name="T51" fmla="*/ 431993 h 868"/>
              <a:gd name="T52" fmla="*/ 59480 w 479"/>
              <a:gd name="T53" fmla="*/ 398399 h 868"/>
              <a:gd name="T54" fmla="*/ 36035 w 479"/>
              <a:gd name="T55" fmla="*/ 383177 h 868"/>
              <a:gd name="T56" fmla="*/ 32128 w 479"/>
              <a:gd name="T57" fmla="*/ 361131 h 868"/>
              <a:gd name="T58" fmla="*/ 34733 w 479"/>
              <a:gd name="T59" fmla="*/ 342760 h 868"/>
              <a:gd name="T60" fmla="*/ 38206 w 479"/>
              <a:gd name="T61" fmla="*/ 323863 h 868"/>
              <a:gd name="T62" fmla="*/ 52099 w 479"/>
              <a:gd name="T63" fmla="*/ 261400 h 868"/>
              <a:gd name="T64" fmla="*/ 46889 w 479"/>
              <a:gd name="T65" fmla="*/ 212060 h 868"/>
              <a:gd name="T66" fmla="*/ 26918 w 479"/>
              <a:gd name="T67" fmla="*/ 167443 h 868"/>
              <a:gd name="T68" fmla="*/ 27786 w 479"/>
              <a:gd name="T69" fmla="*/ 149596 h 868"/>
              <a:gd name="T70" fmla="*/ 32128 w 479"/>
              <a:gd name="T71" fmla="*/ 139098 h 868"/>
              <a:gd name="T72" fmla="*/ 24313 w 479"/>
              <a:gd name="T73" fmla="*/ 106030 h 868"/>
              <a:gd name="T74" fmla="*/ 9986 w 479"/>
              <a:gd name="T75" fmla="*/ 82934 h 868"/>
              <a:gd name="T76" fmla="*/ 434 w 479"/>
              <a:gd name="T77" fmla="*/ 53540 h 868"/>
              <a:gd name="T78" fmla="*/ 4776 w 479"/>
              <a:gd name="T79" fmla="*/ 23096 h 868"/>
              <a:gd name="T80" fmla="*/ 21274 w 479"/>
              <a:gd name="T81" fmla="*/ 8398 h 868"/>
              <a:gd name="T82" fmla="*/ 52099 w 479"/>
              <a:gd name="T83" fmla="*/ 0 h 868"/>
              <a:gd name="T84" fmla="*/ 67729 w 479"/>
              <a:gd name="T85" fmla="*/ 14697 h 868"/>
              <a:gd name="T86" fmla="*/ 77714 w 479"/>
              <a:gd name="T87" fmla="*/ 18896 h 868"/>
              <a:gd name="T88" fmla="*/ 85529 w 479"/>
              <a:gd name="T89" fmla="*/ 71386 h 868"/>
              <a:gd name="T90" fmla="*/ 92476 w 479"/>
              <a:gd name="T91" fmla="*/ 87133 h 868"/>
              <a:gd name="T92" fmla="*/ 100291 w 479"/>
              <a:gd name="T93" fmla="*/ 81359 h 868"/>
              <a:gd name="T94" fmla="*/ 112013 w 479"/>
              <a:gd name="T95" fmla="*/ 66137 h 868"/>
              <a:gd name="T96" fmla="*/ 121999 w 479"/>
              <a:gd name="T97" fmla="*/ 74011 h 868"/>
              <a:gd name="T98" fmla="*/ 129379 w 479"/>
              <a:gd name="T99" fmla="*/ 71386 h 868"/>
              <a:gd name="T100" fmla="*/ 137194 w 479"/>
              <a:gd name="T101" fmla="*/ 56689 h 868"/>
              <a:gd name="T102" fmla="*/ 150219 w 479"/>
              <a:gd name="T103" fmla="*/ 56689 h 868"/>
              <a:gd name="T104" fmla="*/ 168019 w 479"/>
              <a:gd name="T105" fmla="*/ 82409 h 868"/>
              <a:gd name="T106" fmla="*/ 197108 w 479"/>
              <a:gd name="T107" fmla="*/ 129125 h 868"/>
              <a:gd name="T108" fmla="*/ 207528 w 479"/>
              <a:gd name="T109" fmla="*/ 161144 h 868"/>
              <a:gd name="T110" fmla="*/ 203186 w 479"/>
              <a:gd name="T111" fmla="*/ 177416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9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0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71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55562 h 24"/>
              <a:gd name="T2" fmla="*/ 0 w 6"/>
              <a:gd name="T3" fmla="*/ 43987 h 24"/>
              <a:gd name="T4" fmla="*/ 529 w 6"/>
              <a:gd name="T5" fmla="*/ 32411 h 24"/>
              <a:gd name="T6" fmla="*/ 1588 w 6"/>
              <a:gd name="T7" fmla="*/ 18521 h 24"/>
              <a:gd name="T8" fmla="*/ 3175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2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0472 h 67"/>
              <a:gd name="T2" fmla="*/ 0 w 47"/>
              <a:gd name="T3" fmla="*/ 25590 h 67"/>
              <a:gd name="T4" fmla="*/ 1013 w 47"/>
              <a:gd name="T5" fmla="*/ 30707 h 67"/>
              <a:gd name="T6" fmla="*/ 1520 w 47"/>
              <a:gd name="T7" fmla="*/ 35825 h 67"/>
              <a:gd name="T8" fmla="*/ 2533 w 47"/>
              <a:gd name="T9" fmla="*/ 40090 h 67"/>
              <a:gd name="T10" fmla="*/ 4560 w 47"/>
              <a:gd name="T11" fmla="*/ 49473 h 67"/>
              <a:gd name="T12" fmla="*/ 7093 w 47"/>
              <a:gd name="T13" fmla="*/ 57150 h 67"/>
              <a:gd name="T14" fmla="*/ 23813 w 47"/>
              <a:gd name="T15" fmla="*/ 57150 h 67"/>
              <a:gd name="T16" fmla="*/ 23813 w 47"/>
              <a:gd name="T17" fmla="*/ 0 h 67"/>
              <a:gd name="T18" fmla="*/ 18240 w 47"/>
              <a:gd name="T19" fmla="*/ 1706 h 67"/>
              <a:gd name="T20" fmla="*/ 13173 w 47"/>
              <a:gd name="T21" fmla="*/ 3412 h 67"/>
              <a:gd name="T22" fmla="*/ 9120 w 47"/>
              <a:gd name="T23" fmla="*/ 5971 h 67"/>
              <a:gd name="T24" fmla="*/ 5573 w 47"/>
              <a:gd name="T25" fmla="*/ 7677 h 67"/>
              <a:gd name="T26" fmla="*/ 3040 w 47"/>
              <a:gd name="T27" fmla="*/ 10236 h 67"/>
              <a:gd name="T28" fmla="*/ 1520 w 47"/>
              <a:gd name="T29" fmla="*/ 13648 h 67"/>
              <a:gd name="T30" fmla="*/ 0 w 47"/>
              <a:gd name="T31" fmla="*/ 17060 h 67"/>
              <a:gd name="T32" fmla="*/ 0 w 47"/>
              <a:gd name="T33" fmla="*/ 20472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3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57150 h 36"/>
              <a:gd name="T2" fmla="*/ 25924 w 112"/>
              <a:gd name="T3" fmla="*/ 57150 h 36"/>
              <a:gd name="T4" fmla="*/ 29439 w 112"/>
              <a:gd name="T5" fmla="*/ 47625 h 36"/>
              <a:gd name="T6" fmla="*/ 32954 w 112"/>
              <a:gd name="T7" fmla="*/ 41275 h 36"/>
              <a:gd name="T8" fmla="*/ 36909 w 112"/>
              <a:gd name="T9" fmla="*/ 36513 h 36"/>
              <a:gd name="T10" fmla="*/ 39985 w 112"/>
              <a:gd name="T11" fmla="*/ 31750 h 36"/>
              <a:gd name="T12" fmla="*/ 43061 w 112"/>
              <a:gd name="T13" fmla="*/ 26988 h 36"/>
              <a:gd name="T14" fmla="*/ 45697 w 112"/>
              <a:gd name="T15" fmla="*/ 20638 h 36"/>
              <a:gd name="T16" fmla="*/ 47015 w 112"/>
              <a:gd name="T17" fmla="*/ 17463 h 36"/>
              <a:gd name="T18" fmla="*/ 47894 w 112"/>
              <a:gd name="T19" fmla="*/ 12700 h 36"/>
              <a:gd name="T20" fmla="*/ 48773 w 112"/>
              <a:gd name="T21" fmla="*/ 6350 h 36"/>
              <a:gd name="T22" fmla="*/ 49212 w 112"/>
              <a:gd name="T23" fmla="*/ 0 h 36"/>
              <a:gd name="T24" fmla="*/ 43939 w 112"/>
              <a:gd name="T25" fmla="*/ 0 h 36"/>
              <a:gd name="T26" fmla="*/ 37348 w 112"/>
              <a:gd name="T27" fmla="*/ 1588 h 36"/>
              <a:gd name="T28" fmla="*/ 29439 w 112"/>
              <a:gd name="T29" fmla="*/ 4763 h 36"/>
              <a:gd name="T30" fmla="*/ 21091 w 112"/>
              <a:gd name="T31" fmla="*/ 11113 h 36"/>
              <a:gd name="T32" fmla="*/ 17576 w 112"/>
              <a:gd name="T33" fmla="*/ 14288 h 36"/>
              <a:gd name="T34" fmla="*/ 13621 w 112"/>
              <a:gd name="T35" fmla="*/ 17463 h 36"/>
              <a:gd name="T36" fmla="*/ 10106 w 112"/>
              <a:gd name="T37" fmla="*/ 22225 h 36"/>
              <a:gd name="T38" fmla="*/ 7470 w 112"/>
              <a:gd name="T39" fmla="*/ 28575 h 36"/>
              <a:gd name="T40" fmla="*/ 4394 w 112"/>
              <a:gd name="T41" fmla="*/ 34925 h 36"/>
              <a:gd name="T42" fmla="*/ 2636 w 112"/>
              <a:gd name="T43" fmla="*/ 41275 h 36"/>
              <a:gd name="T44" fmla="*/ 439 w 112"/>
              <a:gd name="T45" fmla="*/ 49213 h 36"/>
              <a:gd name="T46" fmla="*/ 0 w 112"/>
              <a:gd name="T47" fmla="*/ 57150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4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188809 w 2006"/>
              <a:gd name="T1" fmla="*/ 401059 h 863"/>
              <a:gd name="T2" fmla="*/ 179652 w 2006"/>
              <a:gd name="T3" fmla="*/ 400535 h 863"/>
              <a:gd name="T4" fmla="*/ 170059 w 2006"/>
              <a:gd name="T5" fmla="*/ 416263 h 863"/>
              <a:gd name="T6" fmla="*/ 163518 w 2006"/>
              <a:gd name="T7" fmla="*/ 415214 h 863"/>
              <a:gd name="T8" fmla="*/ 161338 w 2006"/>
              <a:gd name="T9" fmla="*/ 393720 h 863"/>
              <a:gd name="T10" fmla="*/ 141280 w 2006"/>
              <a:gd name="T11" fmla="*/ 379565 h 863"/>
              <a:gd name="T12" fmla="*/ 136047 w 2006"/>
              <a:gd name="T13" fmla="*/ 371177 h 863"/>
              <a:gd name="T14" fmla="*/ 125582 w 2006"/>
              <a:gd name="T15" fmla="*/ 362788 h 863"/>
              <a:gd name="T16" fmla="*/ 109448 w 2006"/>
              <a:gd name="T17" fmla="*/ 336051 h 863"/>
              <a:gd name="T18" fmla="*/ 101163 w 2006"/>
              <a:gd name="T19" fmla="*/ 319799 h 863"/>
              <a:gd name="T20" fmla="*/ 110320 w 2006"/>
              <a:gd name="T21" fmla="*/ 311411 h 863"/>
              <a:gd name="T22" fmla="*/ 121657 w 2006"/>
              <a:gd name="T23" fmla="*/ 300401 h 863"/>
              <a:gd name="T24" fmla="*/ 147384 w 2006"/>
              <a:gd name="T25" fmla="*/ 285198 h 863"/>
              <a:gd name="T26" fmla="*/ 139099 w 2006"/>
              <a:gd name="T27" fmla="*/ 255315 h 863"/>
              <a:gd name="T28" fmla="*/ 112500 w 2006"/>
              <a:gd name="T29" fmla="*/ 249024 h 863"/>
              <a:gd name="T30" fmla="*/ 91134 w 2006"/>
              <a:gd name="T31" fmla="*/ 246403 h 863"/>
              <a:gd name="T32" fmla="*/ 68460 w 2006"/>
              <a:gd name="T33" fmla="*/ 259509 h 863"/>
              <a:gd name="T34" fmla="*/ 46221 w 2006"/>
              <a:gd name="T35" fmla="*/ 264752 h 863"/>
              <a:gd name="T36" fmla="*/ 11773 w 2006"/>
              <a:gd name="T37" fmla="*/ 216520 h 863"/>
              <a:gd name="T38" fmla="*/ 8721 w 2006"/>
              <a:gd name="T39" fmla="*/ 148366 h 863"/>
              <a:gd name="T40" fmla="*/ 49273 w 2006"/>
              <a:gd name="T41" fmla="*/ 135784 h 863"/>
              <a:gd name="T42" fmla="*/ 127326 w 2006"/>
              <a:gd name="T43" fmla="*/ 116386 h 863"/>
              <a:gd name="T44" fmla="*/ 217152 w 2006"/>
              <a:gd name="T45" fmla="*/ 132638 h 863"/>
              <a:gd name="T46" fmla="*/ 312647 w 2006"/>
              <a:gd name="T47" fmla="*/ 132638 h 863"/>
              <a:gd name="T48" fmla="*/ 286920 w 2006"/>
              <a:gd name="T49" fmla="*/ 96988 h 863"/>
              <a:gd name="T50" fmla="*/ 361920 w 2006"/>
              <a:gd name="T51" fmla="*/ 35650 h 863"/>
              <a:gd name="T52" fmla="*/ 457851 w 2006"/>
              <a:gd name="T53" fmla="*/ 6815 h 863"/>
              <a:gd name="T54" fmla="*/ 512793 w 2006"/>
              <a:gd name="T55" fmla="*/ 31980 h 863"/>
              <a:gd name="T56" fmla="*/ 565119 w 2006"/>
              <a:gd name="T57" fmla="*/ 58193 h 863"/>
              <a:gd name="T58" fmla="*/ 628782 w 2006"/>
              <a:gd name="T59" fmla="*/ 51902 h 863"/>
              <a:gd name="T60" fmla="*/ 718172 w 2006"/>
              <a:gd name="T61" fmla="*/ 142075 h 863"/>
              <a:gd name="T62" fmla="*/ 781835 w 2006"/>
              <a:gd name="T63" fmla="*/ 138929 h 863"/>
              <a:gd name="T64" fmla="*/ 872097 w 2006"/>
              <a:gd name="T65" fmla="*/ 177724 h 863"/>
              <a:gd name="T66" fmla="*/ 872969 w 2006"/>
              <a:gd name="T67" fmla="*/ 199743 h 863"/>
              <a:gd name="T68" fmla="*/ 863812 w 2006"/>
              <a:gd name="T69" fmla="*/ 209180 h 863"/>
              <a:gd name="T70" fmla="*/ 854655 w 2006"/>
              <a:gd name="T71" fmla="*/ 211801 h 863"/>
              <a:gd name="T72" fmla="*/ 855963 w 2006"/>
              <a:gd name="T73" fmla="*/ 222811 h 863"/>
              <a:gd name="T74" fmla="*/ 865556 w 2006"/>
              <a:gd name="T75" fmla="*/ 244305 h 863"/>
              <a:gd name="T76" fmla="*/ 862940 w 2006"/>
              <a:gd name="T77" fmla="*/ 250597 h 863"/>
              <a:gd name="T78" fmla="*/ 845498 w 2006"/>
              <a:gd name="T79" fmla="*/ 252169 h 863"/>
              <a:gd name="T80" fmla="*/ 825440 w 2006"/>
              <a:gd name="T81" fmla="*/ 248500 h 863"/>
              <a:gd name="T82" fmla="*/ 812794 w 2006"/>
              <a:gd name="T83" fmla="*/ 248500 h 863"/>
              <a:gd name="T84" fmla="*/ 818899 w 2006"/>
              <a:gd name="T85" fmla="*/ 287295 h 863"/>
              <a:gd name="T86" fmla="*/ 819771 w 2006"/>
              <a:gd name="T87" fmla="*/ 307217 h 863"/>
              <a:gd name="T88" fmla="*/ 780091 w 2006"/>
              <a:gd name="T89" fmla="*/ 308265 h 863"/>
              <a:gd name="T90" fmla="*/ 770933 w 2006"/>
              <a:gd name="T91" fmla="*/ 316653 h 863"/>
              <a:gd name="T92" fmla="*/ 782707 w 2006"/>
              <a:gd name="T93" fmla="*/ 324517 h 863"/>
              <a:gd name="T94" fmla="*/ 790992 w 2006"/>
              <a:gd name="T95" fmla="*/ 340769 h 863"/>
              <a:gd name="T96" fmla="*/ 799713 w 2006"/>
              <a:gd name="T97" fmla="*/ 361216 h 863"/>
              <a:gd name="T98" fmla="*/ 801021 w 2006"/>
              <a:gd name="T99" fmla="*/ 370128 h 863"/>
              <a:gd name="T100" fmla="*/ 801021 w 2006"/>
              <a:gd name="T101" fmla="*/ 395293 h 863"/>
              <a:gd name="T102" fmla="*/ 759160 w 2006"/>
              <a:gd name="T103" fmla="*/ 387953 h 863"/>
              <a:gd name="T104" fmla="*/ 643171 w 2006"/>
              <a:gd name="T105" fmla="*/ 400535 h 863"/>
              <a:gd name="T106" fmla="*/ 573840 w 2006"/>
              <a:gd name="T107" fmla="*/ 416787 h 863"/>
              <a:gd name="T108" fmla="*/ 497967 w 2006"/>
              <a:gd name="T109" fmla="*/ 439330 h 863"/>
              <a:gd name="T110" fmla="*/ 419915 w 2006"/>
              <a:gd name="T111" fmla="*/ 365410 h 863"/>
              <a:gd name="T112" fmla="*/ 298257 w 2006"/>
              <a:gd name="T113" fmla="*/ 307217 h 863"/>
              <a:gd name="T114" fmla="*/ 254652 w 2006"/>
              <a:gd name="T115" fmla="*/ 436185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5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275062 w 950"/>
              <a:gd name="T1" fmla="*/ 235924 h 468"/>
              <a:gd name="T2" fmla="*/ 240571 w 950"/>
              <a:gd name="T3" fmla="*/ 222610 h 468"/>
              <a:gd name="T4" fmla="*/ 203063 w 950"/>
              <a:gd name="T5" fmla="*/ 200242 h 468"/>
              <a:gd name="T6" fmla="*/ 169004 w 950"/>
              <a:gd name="T7" fmla="*/ 163496 h 468"/>
              <a:gd name="T8" fmla="*/ 131495 w 950"/>
              <a:gd name="T9" fmla="*/ 137400 h 468"/>
              <a:gd name="T10" fmla="*/ 109076 w 950"/>
              <a:gd name="T11" fmla="*/ 111305 h 468"/>
              <a:gd name="T12" fmla="*/ 80190 w 950"/>
              <a:gd name="T13" fmla="*/ 91600 h 468"/>
              <a:gd name="T14" fmla="*/ 57341 w 950"/>
              <a:gd name="T15" fmla="*/ 101186 h 468"/>
              <a:gd name="T16" fmla="*/ 42682 w 950"/>
              <a:gd name="T17" fmla="*/ 127814 h 468"/>
              <a:gd name="T18" fmla="*/ 17245 w 950"/>
              <a:gd name="T19" fmla="*/ 131010 h 468"/>
              <a:gd name="T20" fmla="*/ 0 w 950"/>
              <a:gd name="T21" fmla="*/ 12781 h 468"/>
              <a:gd name="T22" fmla="*/ 34059 w 950"/>
              <a:gd name="T23" fmla="*/ 3195 h 468"/>
              <a:gd name="T24" fmla="*/ 57341 w 950"/>
              <a:gd name="T25" fmla="*/ 29291 h 468"/>
              <a:gd name="T26" fmla="*/ 67688 w 950"/>
              <a:gd name="T27" fmla="*/ 7988 h 468"/>
              <a:gd name="T28" fmla="*/ 143136 w 950"/>
              <a:gd name="T29" fmla="*/ 62310 h 468"/>
              <a:gd name="T30" fmla="*/ 188836 w 950"/>
              <a:gd name="T31" fmla="*/ 62310 h 468"/>
              <a:gd name="T32" fmla="*/ 226344 w 950"/>
              <a:gd name="T33" fmla="*/ 71896 h 468"/>
              <a:gd name="T34" fmla="*/ 257386 w 950"/>
              <a:gd name="T35" fmla="*/ 121424 h 468"/>
              <a:gd name="T36" fmla="*/ 289289 w 950"/>
              <a:gd name="T37" fmla="*/ 134205 h 468"/>
              <a:gd name="T38" fmla="*/ 314726 w 950"/>
              <a:gd name="T39" fmla="*/ 137400 h 468"/>
              <a:gd name="T40" fmla="*/ 341025 w 950"/>
              <a:gd name="T41" fmla="*/ 114500 h 468"/>
              <a:gd name="T42" fmla="*/ 363444 w 950"/>
              <a:gd name="T43" fmla="*/ 104382 h 468"/>
              <a:gd name="T44" fmla="*/ 355252 w 950"/>
              <a:gd name="T45" fmla="*/ 134205 h 468"/>
              <a:gd name="T46" fmla="*/ 375084 w 950"/>
              <a:gd name="T47" fmla="*/ 127814 h 468"/>
              <a:gd name="T48" fmla="*/ 409575 w 950"/>
              <a:gd name="T49" fmla="*/ 150714 h 468"/>
              <a:gd name="T50" fmla="*/ 380689 w 950"/>
              <a:gd name="T51" fmla="*/ 170419 h 468"/>
              <a:gd name="T52" fmla="*/ 355252 w 950"/>
              <a:gd name="T53" fmla="*/ 150714 h 468"/>
              <a:gd name="T54" fmla="*/ 329385 w 950"/>
              <a:gd name="T55" fmla="*/ 147519 h 468"/>
              <a:gd name="T56" fmla="*/ 317744 w 950"/>
              <a:gd name="T57" fmla="*/ 170419 h 468"/>
              <a:gd name="T58" fmla="*/ 294894 w 950"/>
              <a:gd name="T59" fmla="*/ 190124 h 468"/>
              <a:gd name="T60" fmla="*/ 306103 w 950"/>
              <a:gd name="T61" fmla="*/ 206633 h 468"/>
              <a:gd name="T62" fmla="*/ 320331 w 950"/>
              <a:gd name="T63" fmla="*/ 232729 h 468"/>
              <a:gd name="T64" fmla="*/ 309121 w 950"/>
              <a:gd name="T65" fmla="*/ 249238 h 468"/>
              <a:gd name="T66" fmla="*/ 303086 w 950"/>
              <a:gd name="T67" fmla="*/ 247640 h 468"/>
              <a:gd name="T68" fmla="*/ 294894 w 950"/>
              <a:gd name="T69" fmla="*/ 245510 h 468"/>
              <a:gd name="T70" fmla="*/ 283685 w 950"/>
              <a:gd name="T71" fmla="*/ 245510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6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2655 w 671"/>
              <a:gd name="T1" fmla="*/ 201563 h 549"/>
              <a:gd name="T2" fmla="*/ 3539 w 671"/>
              <a:gd name="T3" fmla="*/ 166303 h 549"/>
              <a:gd name="T4" fmla="*/ 7521 w 671"/>
              <a:gd name="T5" fmla="*/ 151041 h 549"/>
              <a:gd name="T6" fmla="*/ 23006 w 671"/>
              <a:gd name="T7" fmla="*/ 125253 h 549"/>
              <a:gd name="T8" fmla="*/ 31412 w 671"/>
              <a:gd name="T9" fmla="*/ 107886 h 549"/>
              <a:gd name="T10" fmla="*/ 32297 w 671"/>
              <a:gd name="T11" fmla="*/ 87888 h 549"/>
              <a:gd name="T12" fmla="*/ 32297 w 671"/>
              <a:gd name="T13" fmla="*/ 72100 h 549"/>
              <a:gd name="T14" fmla="*/ 23891 w 671"/>
              <a:gd name="T15" fmla="*/ 56838 h 549"/>
              <a:gd name="T16" fmla="*/ 26988 w 671"/>
              <a:gd name="T17" fmla="*/ 41576 h 549"/>
              <a:gd name="T18" fmla="*/ 33624 w 671"/>
              <a:gd name="T19" fmla="*/ 26314 h 549"/>
              <a:gd name="T20" fmla="*/ 42472 w 671"/>
              <a:gd name="T21" fmla="*/ 13157 h 549"/>
              <a:gd name="T22" fmla="*/ 53090 w 671"/>
              <a:gd name="T23" fmla="*/ 3684 h 549"/>
              <a:gd name="T24" fmla="*/ 64593 w 671"/>
              <a:gd name="T25" fmla="*/ 0 h 549"/>
              <a:gd name="T26" fmla="*/ 76538 w 671"/>
              <a:gd name="T27" fmla="*/ 2631 h 549"/>
              <a:gd name="T28" fmla="*/ 91138 w 671"/>
              <a:gd name="T29" fmla="*/ 13683 h 549"/>
              <a:gd name="T30" fmla="*/ 104411 w 671"/>
              <a:gd name="T31" fmla="*/ 23682 h 549"/>
              <a:gd name="T32" fmla="*/ 114586 w 671"/>
              <a:gd name="T33" fmla="*/ 26314 h 549"/>
              <a:gd name="T34" fmla="*/ 120338 w 671"/>
              <a:gd name="T35" fmla="*/ 23156 h 549"/>
              <a:gd name="T36" fmla="*/ 125647 w 671"/>
              <a:gd name="T37" fmla="*/ 18420 h 549"/>
              <a:gd name="T38" fmla="*/ 132726 w 671"/>
              <a:gd name="T39" fmla="*/ 16841 h 549"/>
              <a:gd name="T40" fmla="*/ 140689 w 671"/>
              <a:gd name="T41" fmla="*/ 20525 h 549"/>
              <a:gd name="T42" fmla="*/ 149095 w 671"/>
              <a:gd name="T43" fmla="*/ 34208 h 549"/>
              <a:gd name="T44" fmla="*/ 156174 w 671"/>
              <a:gd name="T45" fmla="*/ 41576 h 549"/>
              <a:gd name="T46" fmla="*/ 163695 w 671"/>
              <a:gd name="T47" fmla="*/ 42628 h 549"/>
              <a:gd name="T48" fmla="*/ 168562 w 671"/>
              <a:gd name="T49" fmla="*/ 39471 h 549"/>
              <a:gd name="T50" fmla="*/ 175640 w 671"/>
              <a:gd name="T51" fmla="*/ 29471 h 549"/>
              <a:gd name="T52" fmla="*/ 185373 w 671"/>
              <a:gd name="T53" fmla="*/ 19998 h 549"/>
              <a:gd name="T54" fmla="*/ 202628 w 671"/>
              <a:gd name="T55" fmla="*/ 11578 h 549"/>
              <a:gd name="T56" fmla="*/ 215458 w 671"/>
              <a:gd name="T57" fmla="*/ 13157 h 549"/>
              <a:gd name="T58" fmla="*/ 226076 w 671"/>
              <a:gd name="T59" fmla="*/ 18420 h 549"/>
              <a:gd name="T60" fmla="*/ 237579 w 671"/>
              <a:gd name="T61" fmla="*/ 22630 h 549"/>
              <a:gd name="T62" fmla="*/ 252621 w 671"/>
              <a:gd name="T63" fmla="*/ 20525 h 549"/>
              <a:gd name="T64" fmla="*/ 285803 w 671"/>
              <a:gd name="T65" fmla="*/ 35260 h 549"/>
              <a:gd name="T66" fmla="*/ 294208 w 671"/>
              <a:gd name="T67" fmla="*/ 55259 h 549"/>
              <a:gd name="T68" fmla="*/ 275627 w 671"/>
              <a:gd name="T69" fmla="*/ 96308 h 549"/>
              <a:gd name="T70" fmla="*/ 262354 w 671"/>
              <a:gd name="T71" fmla="*/ 122622 h 549"/>
              <a:gd name="T72" fmla="*/ 252179 w 671"/>
              <a:gd name="T73" fmla="*/ 153146 h 549"/>
              <a:gd name="T74" fmla="*/ 243330 w 671"/>
              <a:gd name="T75" fmla="*/ 180512 h 549"/>
              <a:gd name="T76" fmla="*/ 232270 w 671"/>
              <a:gd name="T77" fmla="*/ 214194 h 549"/>
              <a:gd name="T78" fmla="*/ 228288 w 671"/>
              <a:gd name="T79" fmla="*/ 222088 h 549"/>
              <a:gd name="T80" fmla="*/ 221209 w 671"/>
              <a:gd name="T81" fmla="*/ 231035 h 549"/>
              <a:gd name="T82" fmla="*/ 213246 w 671"/>
              <a:gd name="T83" fmla="*/ 233140 h 549"/>
              <a:gd name="T84" fmla="*/ 203070 w 671"/>
              <a:gd name="T85" fmla="*/ 227351 h 549"/>
              <a:gd name="T86" fmla="*/ 194664 w 671"/>
              <a:gd name="T87" fmla="*/ 221562 h 549"/>
              <a:gd name="T88" fmla="*/ 180507 w 671"/>
              <a:gd name="T89" fmla="*/ 223141 h 549"/>
              <a:gd name="T90" fmla="*/ 168562 w 671"/>
              <a:gd name="T91" fmla="*/ 232087 h 549"/>
              <a:gd name="T92" fmla="*/ 161040 w 671"/>
              <a:gd name="T93" fmla="*/ 246823 h 549"/>
              <a:gd name="T94" fmla="*/ 151307 w 671"/>
              <a:gd name="T95" fmla="*/ 274189 h 549"/>
              <a:gd name="T96" fmla="*/ 143786 w 671"/>
              <a:gd name="T97" fmla="*/ 288925 h 549"/>
              <a:gd name="T98" fmla="*/ 101314 w 671"/>
              <a:gd name="T99" fmla="*/ 287346 h 549"/>
              <a:gd name="T100" fmla="*/ 96005 w 671"/>
              <a:gd name="T101" fmla="*/ 288399 h 549"/>
              <a:gd name="T102" fmla="*/ 79193 w 671"/>
              <a:gd name="T103" fmla="*/ 285767 h 549"/>
              <a:gd name="T104" fmla="*/ 71229 w 671"/>
              <a:gd name="T105" fmla="*/ 284189 h 549"/>
              <a:gd name="T106" fmla="*/ 63708 w 671"/>
              <a:gd name="T107" fmla="*/ 279452 h 549"/>
              <a:gd name="T108" fmla="*/ 57072 w 671"/>
              <a:gd name="T109" fmla="*/ 271032 h 549"/>
              <a:gd name="T110" fmla="*/ 52648 w 671"/>
              <a:gd name="T111" fmla="*/ 261032 h 549"/>
              <a:gd name="T112" fmla="*/ 49993 w 671"/>
              <a:gd name="T113" fmla="*/ 248402 h 549"/>
              <a:gd name="T114" fmla="*/ 44242 w 671"/>
              <a:gd name="T115" fmla="*/ 242087 h 549"/>
              <a:gd name="T116" fmla="*/ 36721 w 671"/>
              <a:gd name="T117" fmla="*/ 235245 h 549"/>
              <a:gd name="T118" fmla="*/ 27872 w 671"/>
              <a:gd name="T119" fmla="*/ 227351 h 549"/>
              <a:gd name="T120" fmla="*/ 17254 w 671"/>
              <a:gd name="T121" fmla="*/ 225772 h 549"/>
              <a:gd name="T122" fmla="*/ 0 w 671"/>
              <a:gd name="T123" fmla="*/ 230508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7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138778 w 358"/>
              <a:gd name="T1" fmla="*/ 168304 h 327"/>
              <a:gd name="T2" fmla="*/ 140906 w 358"/>
              <a:gd name="T3" fmla="*/ 166745 h 327"/>
              <a:gd name="T4" fmla="*/ 143460 w 358"/>
              <a:gd name="T5" fmla="*/ 165187 h 327"/>
              <a:gd name="T6" fmla="*/ 147292 w 358"/>
              <a:gd name="T7" fmla="*/ 165187 h 327"/>
              <a:gd name="T8" fmla="*/ 151549 w 358"/>
              <a:gd name="T9" fmla="*/ 168304 h 327"/>
              <a:gd name="T10" fmla="*/ 135798 w 358"/>
              <a:gd name="T11" fmla="*/ 148045 h 327"/>
              <a:gd name="T12" fmla="*/ 118344 w 358"/>
              <a:gd name="T13" fmla="*/ 122072 h 327"/>
              <a:gd name="T14" fmla="*/ 107702 w 358"/>
              <a:gd name="T15" fmla="*/ 105969 h 327"/>
              <a:gd name="T16" fmla="*/ 98762 w 358"/>
              <a:gd name="T17" fmla="*/ 96619 h 327"/>
              <a:gd name="T18" fmla="*/ 93228 w 358"/>
              <a:gd name="T19" fmla="*/ 94021 h 327"/>
              <a:gd name="T20" fmla="*/ 88545 w 358"/>
              <a:gd name="T21" fmla="*/ 93502 h 327"/>
              <a:gd name="T22" fmla="*/ 85565 w 358"/>
              <a:gd name="T23" fmla="*/ 92983 h 327"/>
              <a:gd name="T24" fmla="*/ 84714 w 358"/>
              <a:gd name="T25" fmla="*/ 90385 h 327"/>
              <a:gd name="T26" fmla="*/ 84288 w 358"/>
              <a:gd name="T27" fmla="*/ 88307 h 327"/>
              <a:gd name="T28" fmla="*/ 83011 w 358"/>
              <a:gd name="T29" fmla="*/ 87788 h 327"/>
              <a:gd name="T30" fmla="*/ 78328 w 358"/>
              <a:gd name="T31" fmla="*/ 89346 h 327"/>
              <a:gd name="T32" fmla="*/ 72794 w 358"/>
              <a:gd name="T33" fmla="*/ 89346 h 327"/>
              <a:gd name="T34" fmla="*/ 70240 w 358"/>
              <a:gd name="T35" fmla="*/ 87269 h 327"/>
              <a:gd name="T36" fmla="*/ 68112 w 358"/>
              <a:gd name="T37" fmla="*/ 83632 h 327"/>
              <a:gd name="T38" fmla="*/ 64706 w 358"/>
              <a:gd name="T39" fmla="*/ 74802 h 327"/>
              <a:gd name="T40" fmla="*/ 60875 w 358"/>
              <a:gd name="T41" fmla="*/ 68049 h 327"/>
              <a:gd name="T42" fmla="*/ 56618 w 358"/>
              <a:gd name="T43" fmla="*/ 61815 h 327"/>
              <a:gd name="T44" fmla="*/ 54064 w 358"/>
              <a:gd name="T45" fmla="*/ 54543 h 327"/>
              <a:gd name="T46" fmla="*/ 51935 w 358"/>
              <a:gd name="T47" fmla="*/ 43634 h 327"/>
              <a:gd name="T48" fmla="*/ 50658 w 358"/>
              <a:gd name="T49" fmla="*/ 27531 h 327"/>
              <a:gd name="T50" fmla="*/ 49807 w 358"/>
              <a:gd name="T51" fmla="*/ 11947 h 327"/>
              <a:gd name="T52" fmla="*/ 47678 w 358"/>
              <a:gd name="T53" fmla="*/ 0 h 327"/>
              <a:gd name="T54" fmla="*/ 31076 w 358"/>
              <a:gd name="T55" fmla="*/ 13506 h 327"/>
              <a:gd name="T56" fmla="*/ 25968 w 358"/>
              <a:gd name="T57" fmla="*/ 17142 h 327"/>
              <a:gd name="T58" fmla="*/ 14048 w 358"/>
              <a:gd name="T59" fmla="*/ 25973 h 327"/>
              <a:gd name="T60" fmla="*/ 8940 w 358"/>
              <a:gd name="T61" fmla="*/ 31687 h 327"/>
              <a:gd name="T62" fmla="*/ 7237 w 358"/>
              <a:gd name="T63" fmla="*/ 37401 h 327"/>
              <a:gd name="T64" fmla="*/ 6811 w 358"/>
              <a:gd name="T65" fmla="*/ 43115 h 327"/>
              <a:gd name="T66" fmla="*/ 8514 w 358"/>
              <a:gd name="T67" fmla="*/ 48309 h 327"/>
              <a:gd name="T68" fmla="*/ 9365 w 358"/>
              <a:gd name="T69" fmla="*/ 51946 h 327"/>
              <a:gd name="T70" fmla="*/ 8514 w 358"/>
              <a:gd name="T71" fmla="*/ 57140 h 327"/>
              <a:gd name="T72" fmla="*/ 6385 w 358"/>
              <a:gd name="T73" fmla="*/ 63893 h 327"/>
              <a:gd name="T74" fmla="*/ 2980 w 358"/>
              <a:gd name="T75" fmla="*/ 70646 h 327"/>
              <a:gd name="T76" fmla="*/ 0 w 358"/>
              <a:gd name="T77" fmla="*/ 80516 h 327"/>
              <a:gd name="T78" fmla="*/ 0 w 358"/>
              <a:gd name="T79" fmla="*/ 90385 h 327"/>
              <a:gd name="T80" fmla="*/ 2128 w 358"/>
              <a:gd name="T81" fmla="*/ 94541 h 327"/>
              <a:gd name="T82" fmla="*/ 4683 w 358"/>
              <a:gd name="T83" fmla="*/ 97138 h 327"/>
              <a:gd name="T84" fmla="*/ 8514 w 358"/>
              <a:gd name="T85" fmla="*/ 96619 h 327"/>
              <a:gd name="T86" fmla="*/ 18731 w 358"/>
              <a:gd name="T87" fmla="*/ 87269 h 327"/>
              <a:gd name="T88" fmla="*/ 25542 w 358"/>
              <a:gd name="T89" fmla="*/ 83632 h 327"/>
              <a:gd name="T90" fmla="*/ 32353 w 358"/>
              <a:gd name="T91" fmla="*/ 77918 h 327"/>
              <a:gd name="T92" fmla="*/ 39590 w 358"/>
              <a:gd name="T93" fmla="*/ 82593 h 327"/>
              <a:gd name="T94" fmla="*/ 46827 w 358"/>
              <a:gd name="T95" fmla="*/ 85191 h 327"/>
              <a:gd name="T96" fmla="*/ 60449 w 358"/>
              <a:gd name="T97" fmla="*/ 93502 h 327"/>
              <a:gd name="T98" fmla="*/ 69389 w 358"/>
              <a:gd name="T99" fmla="*/ 98697 h 327"/>
              <a:gd name="T100" fmla="*/ 83437 w 358"/>
              <a:gd name="T101" fmla="*/ 108566 h 327"/>
              <a:gd name="T102" fmla="*/ 93228 w 358"/>
              <a:gd name="T103" fmla="*/ 116878 h 327"/>
              <a:gd name="T104" fmla="*/ 104296 w 358"/>
              <a:gd name="T105" fmla="*/ 126747 h 327"/>
              <a:gd name="T106" fmla="*/ 108979 w 358"/>
              <a:gd name="T107" fmla="*/ 131942 h 327"/>
              <a:gd name="T108" fmla="*/ 113661 w 358"/>
              <a:gd name="T109" fmla="*/ 140253 h 327"/>
              <a:gd name="T110" fmla="*/ 114513 w 358"/>
              <a:gd name="T111" fmla="*/ 144928 h 327"/>
              <a:gd name="T112" fmla="*/ 114513 w 358"/>
              <a:gd name="T113" fmla="*/ 148564 h 327"/>
              <a:gd name="T114" fmla="*/ 114939 w 358"/>
              <a:gd name="T115" fmla="*/ 150642 h 327"/>
              <a:gd name="T116" fmla="*/ 117493 w 358"/>
              <a:gd name="T117" fmla="*/ 151681 h 327"/>
              <a:gd name="T118" fmla="*/ 124304 w 358"/>
              <a:gd name="T119" fmla="*/ 156876 h 327"/>
              <a:gd name="T120" fmla="*/ 135372 w 358"/>
              <a:gd name="T121" fmla="*/ 166745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8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54117 w 292"/>
              <a:gd name="T1" fmla="*/ 0 h 99"/>
              <a:gd name="T2" fmla="*/ 65713 w 292"/>
              <a:gd name="T3" fmla="*/ 0 h 99"/>
              <a:gd name="T4" fmla="*/ 85040 w 292"/>
              <a:gd name="T5" fmla="*/ 577 h 99"/>
              <a:gd name="T6" fmla="*/ 107374 w 292"/>
              <a:gd name="T7" fmla="*/ 3464 h 99"/>
              <a:gd name="T8" fmla="*/ 125413 w 292"/>
              <a:gd name="T9" fmla="*/ 4041 h 99"/>
              <a:gd name="T10" fmla="*/ 124554 w 292"/>
              <a:gd name="T11" fmla="*/ 11545 h 99"/>
              <a:gd name="T12" fmla="*/ 122407 w 292"/>
              <a:gd name="T13" fmla="*/ 19050 h 99"/>
              <a:gd name="T14" fmla="*/ 119830 w 292"/>
              <a:gd name="T15" fmla="*/ 31750 h 99"/>
              <a:gd name="T16" fmla="*/ 57982 w 292"/>
              <a:gd name="T17" fmla="*/ 40409 h 99"/>
              <a:gd name="T18" fmla="*/ 42520 w 292"/>
              <a:gd name="T19" fmla="*/ 51377 h 99"/>
              <a:gd name="T20" fmla="*/ 33930 w 292"/>
              <a:gd name="T21" fmla="*/ 55418 h 99"/>
              <a:gd name="T22" fmla="*/ 28347 w 292"/>
              <a:gd name="T23" fmla="*/ 56573 h 99"/>
              <a:gd name="T24" fmla="*/ 23622 w 292"/>
              <a:gd name="T25" fmla="*/ 56573 h 99"/>
              <a:gd name="T26" fmla="*/ 19327 w 292"/>
              <a:gd name="T27" fmla="*/ 54264 h 99"/>
              <a:gd name="T28" fmla="*/ 14173 w 292"/>
              <a:gd name="T29" fmla="*/ 49645 h 99"/>
              <a:gd name="T30" fmla="*/ 8590 w 292"/>
              <a:gd name="T31" fmla="*/ 44450 h 99"/>
              <a:gd name="T32" fmla="*/ 3006 w 292"/>
              <a:gd name="T33" fmla="*/ 39832 h 99"/>
              <a:gd name="T34" fmla="*/ 429 w 292"/>
              <a:gd name="T35" fmla="*/ 32905 h 99"/>
              <a:gd name="T36" fmla="*/ 0 w 292"/>
              <a:gd name="T37" fmla="*/ 24245 h 99"/>
              <a:gd name="T38" fmla="*/ 429 w 292"/>
              <a:gd name="T39" fmla="*/ 14432 h 99"/>
              <a:gd name="T40" fmla="*/ 1288 w 292"/>
              <a:gd name="T41" fmla="*/ 11545 h 99"/>
              <a:gd name="T42" fmla="*/ 3865 w 292"/>
              <a:gd name="T43" fmla="*/ 10391 h 99"/>
              <a:gd name="T44" fmla="*/ 6442 w 292"/>
              <a:gd name="T45" fmla="*/ 12123 h 99"/>
              <a:gd name="T46" fmla="*/ 10737 w 292"/>
              <a:gd name="T47" fmla="*/ 16164 h 99"/>
              <a:gd name="T48" fmla="*/ 15032 w 292"/>
              <a:gd name="T49" fmla="*/ 18473 h 99"/>
              <a:gd name="T50" fmla="*/ 19327 w 292"/>
              <a:gd name="T51" fmla="*/ 19627 h 99"/>
              <a:gd name="T52" fmla="*/ 23193 w 292"/>
              <a:gd name="T53" fmla="*/ 19050 h 99"/>
              <a:gd name="T54" fmla="*/ 28776 w 292"/>
              <a:gd name="T55" fmla="*/ 16741 h 99"/>
              <a:gd name="T56" fmla="*/ 34789 w 292"/>
              <a:gd name="T57" fmla="*/ 10968 h 99"/>
              <a:gd name="T58" fmla="*/ 37796 w 292"/>
              <a:gd name="T59" fmla="*/ 6350 h 99"/>
              <a:gd name="T60" fmla="*/ 40373 w 292"/>
              <a:gd name="T61" fmla="*/ 3464 h 99"/>
              <a:gd name="T62" fmla="*/ 46815 w 292"/>
              <a:gd name="T63" fmla="*/ 57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79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17278 w 43"/>
              <a:gd name="T1" fmla="*/ 57150 h 93"/>
              <a:gd name="T2" fmla="*/ 13734 w 43"/>
              <a:gd name="T3" fmla="*/ 55921 h 93"/>
              <a:gd name="T4" fmla="*/ 11519 w 43"/>
              <a:gd name="T5" fmla="*/ 54692 h 93"/>
              <a:gd name="T6" fmla="*/ 9303 w 43"/>
              <a:gd name="T7" fmla="*/ 53463 h 93"/>
              <a:gd name="T8" fmla="*/ 7974 w 43"/>
              <a:gd name="T9" fmla="*/ 51619 h 93"/>
              <a:gd name="T10" fmla="*/ 6645 w 43"/>
              <a:gd name="T11" fmla="*/ 48547 h 93"/>
              <a:gd name="T12" fmla="*/ 6202 w 43"/>
              <a:gd name="T13" fmla="*/ 44860 h 93"/>
              <a:gd name="T14" fmla="*/ 5759 w 43"/>
              <a:gd name="T15" fmla="*/ 39944 h 93"/>
              <a:gd name="T16" fmla="*/ 4873 w 43"/>
              <a:gd name="T17" fmla="*/ 33798 h 93"/>
              <a:gd name="T18" fmla="*/ 4873 w 43"/>
              <a:gd name="T19" fmla="*/ 29497 h 93"/>
              <a:gd name="T20" fmla="*/ 3987 w 43"/>
              <a:gd name="T21" fmla="*/ 25810 h 93"/>
              <a:gd name="T22" fmla="*/ 2658 w 43"/>
              <a:gd name="T23" fmla="*/ 23352 h 93"/>
              <a:gd name="T24" fmla="*/ 1772 w 43"/>
              <a:gd name="T25" fmla="*/ 22123 h 93"/>
              <a:gd name="T26" fmla="*/ 886 w 43"/>
              <a:gd name="T27" fmla="*/ 20894 h 93"/>
              <a:gd name="T28" fmla="*/ 0 w 43"/>
              <a:gd name="T29" fmla="*/ 19665 h 93"/>
              <a:gd name="T30" fmla="*/ 886 w 43"/>
              <a:gd name="T31" fmla="*/ 17821 h 93"/>
              <a:gd name="T32" fmla="*/ 2215 w 43"/>
              <a:gd name="T33" fmla="*/ 14748 h 93"/>
              <a:gd name="T34" fmla="*/ 2658 w 43"/>
              <a:gd name="T35" fmla="*/ 17206 h 93"/>
              <a:gd name="T36" fmla="*/ 3101 w 43"/>
              <a:gd name="T37" fmla="*/ 17821 h 93"/>
              <a:gd name="T38" fmla="*/ 3544 w 43"/>
              <a:gd name="T39" fmla="*/ 18435 h 93"/>
              <a:gd name="T40" fmla="*/ 3987 w 43"/>
              <a:gd name="T41" fmla="*/ 17821 h 93"/>
              <a:gd name="T42" fmla="*/ 4873 w 43"/>
              <a:gd name="T43" fmla="*/ 15363 h 93"/>
              <a:gd name="T44" fmla="*/ 6202 w 43"/>
              <a:gd name="T45" fmla="*/ 11676 h 93"/>
              <a:gd name="T46" fmla="*/ 7088 w 43"/>
              <a:gd name="T47" fmla="*/ 7374 h 93"/>
              <a:gd name="T48" fmla="*/ 8860 w 43"/>
              <a:gd name="T49" fmla="*/ 3687 h 93"/>
              <a:gd name="T50" fmla="*/ 9747 w 43"/>
              <a:gd name="T51" fmla="*/ 2458 h 93"/>
              <a:gd name="T52" fmla="*/ 11076 w 43"/>
              <a:gd name="T53" fmla="*/ 1229 h 93"/>
              <a:gd name="T54" fmla="*/ 12405 w 43"/>
              <a:gd name="T55" fmla="*/ 0 h 93"/>
              <a:gd name="T56" fmla="*/ 14177 w 43"/>
              <a:gd name="T57" fmla="*/ 0 h 93"/>
              <a:gd name="T58" fmla="*/ 14620 w 43"/>
              <a:gd name="T59" fmla="*/ 6145 h 93"/>
              <a:gd name="T60" fmla="*/ 14620 w 43"/>
              <a:gd name="T61" fmla="*/ 9832 h 93"/>
              <a:gd name="T62" fmla="*/ 14620 w 43"/>
              <a:gd name="T63" fmla="*/ 12290 h 93"/>
              <a:gd name="T64" fmla="*/ 14177 w 43"/>
              <a:gd name="T65" fmla="*/ 14134 h 93"/>
              <a:gd name="T66" fmla="*/ 14177 w 43"/>
              <a:gd name="T67" fmla="*/ 16592 h 93"/>
              <a:gd name="T68" fmla="*/ 14177 w 43"/>
              <a:gd name="T69" fmla="*/ 19050 h 93"/>
              <a:gd name="T70" fmla="*/ 15506 w 43"/>
              <a:gd name="T71" fmla="*/ 22123 h 93"/>
              <a:gd name="T72" fmla="*/ 17278 w 43"/>
              <a:gd name="T73" fmla="*/ 26424 h 93"/>
              <a:gd name="T74" fmla="*/ 16835 w 43"/>
              <a:gd name="T75" fmla="*/ 27039 h 93"/>
              <a:gd name="T76" fmla="*/ 16392 w 43"/>
              <a:gd name="T77" fmla="*/ 27653 h 93"/>
              <a:gd name="T78" fmla="*/ 16392 w 43"/>
              <a:gd name="T79" fmla="*/ 29497 h 93"/>
              <a:gd name="T80" fmla="*/ 16835 w 43"/>
              <a:gd name="T81" fmla="*/ 31340 h 93"/>
              <a:gd name="T82" fmla="*/ 17278 w 43"/>
              <a:gd name="T83" fmla="*/ 36256 h 93"/>
              <a:gd name="T84" fmla="*/ 18164 w 43"/>
              <a:gd name="T85" fmla="*/ 41787 h 93"/>
              <a:gd name="T86" fmla="*/ 18607 w 43"/>
              <a:gd name="T87" fmla="*/ 46703 h 93"/>
              <a:gd name="T88" fmla="*/ 19050 w 43"/>
              <a:gd name="T89" fmla="*/ 52234 h 93"/>
              <a:gd name="T90" fmla="*/ 19050 w 43"/>
              <a:gd name="T91" fmla="*/ 54077 h 93"/>
              <a:gd name="T92" fmla="*/ 18607 w 43"/>
              <a:gd name="T93" fmla="*/ 55921 h 93"/>
              <a:gd name="T94" fmla="*/ 17721 w 43"/>
              <a:gd name="T95" fmla="*/ 56535 h 93"/>
              <a:gd name="T96" fmla="*/ 17278 w 43"/>
              <a:gd name="T97" fmla="*/ 57150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0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14287 w 40"/>
              <a:gd name="T1" fmla="*/ 57150 h 56"/>
              <a:gd name="T2" fmla="*/ 13215 w 40"/>
              <a:gd name="T3" fmla="*/ 46945 h 56"/>
              <a:gd name="T4" fmla="*/ 11787 w 40"/>
              <a:gd name="T5" fmla="*/ 38780 h 56"/>
              <a:gd name="T6" fmla="*/ 10001 w 40"/>
              <a:gd name="T7" fmla="*/ 32657 h 56"/>
              <a:gd name="T8" fmla="*/ 8215 w 40"/>
              <a:gd name="T9" fmla="*/ 28575 h 56"/>
              <a:gd name="T10" fmla="*/ 3929 w 40"/>
              <a:gd name="T11" fmla="*/ 21431 h 56"/>
              <a:gd name="T12" fmla="*/ 0 w 40"/>
              <a:gd name="T13" fmla="*/ 12246 h 56"/>
              <a:gd name="T14" fmla="*/ 4643 w 40"/>
              <a:gd name="T15" fmla="*/ 4082 h 56"/>
              <a:gd name="T16" fmla="*/ 7144 w 40"/>
              <a:gd name="T17" fmla="*/ 0 h 56"/>
              <a:gd name="T18" fmla="*/ 10001 w 40"/>
              <a:gd name="T19" fmla="*/ 12246 h 56"/>
              <a:gd name="T20" fmla="*/ 12501 w 40"/>
              <a:gd name="T21" fmla="*/ 22452 h 56"/>
              <a:gd name="T22" fmla="*/ 13215 w 40"/>
              <a:gd name="T23" fmla="*/ 25513 h 56"/>
              <a:gd name="T24" fmla="*/ 13930 w 40"/>
              <a:gd name="T25" fmla="*/ 29596 h 56"/>
              <a:gd name="T26" fmla="*/ 13930 w 40"/>
              <a:gd name="T27" fmla="*/ 33678 h 56"/>
              <a:gd name="T28" fmla="*/ 14287 w 40"/>
              <a:gd name="T29" fmla="*/ 37760 h 56"/>
              <a:gd name="T30" fmla="*/ 14287 w 40"/>
              <a:gd name="T31" fmla="*/ 44904 h 56"/>
              <a:gd name="T32" fmla="*/ 14287 w 40"/>
              <a:gd name="T33" fmla="*/ 46945 h 56"/>
              <a:gd name="T34" fmla="*/ 14287 w 40"/>
              <a:gd name="T35" fmla="*/ 50006 h 56"/>
              <a:gd name="T36" fmla="*/ 14287 w 40"/>
              <a:gd name="T37" fmla="*/ 57150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1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5635 h 71"/>
              <a:gd name="T2" fmla="*/ 5032 w 106"/>
              <a:gd name="T3" fmla="*/ 8049 h 71"/>
              <a:gd name="T4" fmla="*/ 10064 w 106"/>
              <a:gd name="T5" fmla="*/ 9659 h 71"/>
              <a:gd name="T6" fmla="*/ 14677 w 106"/>
              <a:gd name="T7" fmla="*/ 10464 h 71"/>
              <a:gd name="T8" fmla="*/ 18870 w 106"/>
              <a:gd name="T9" fmla="*/ 10464 h 71"/>
              <a:gd name="T10" fmla="*/ 22644 w 106"/>
              <a:gd name="T11" fmla="*/ 8854 h 71"/>
              <a:gd name="T12" fmla="*/ 25580 w 106"/>
              <a:gd name="T13" fmla="*/ 6439 h 71"/>
              <a:gd name="T14" fmla="*/ 28515 w 106"/>
              <a:gd name="T15" fmla="*/ 4025 h 71"/>
              <a:gd name="T16" fmla="*/ 31031 w 106"/>
              <a:gd name="T17" fmla="*/ 0 h 71"/>
              <a:gd name="T18" fmla="*/ 35225 w 106"/>
              <a:gd name="T19" fmla="*/ 12879 h 71"/>
              <a:gd name="T20" fmla="*/ 39418 w 106"/>
              <a:gd name="T21" fmla="*/ 24148 h 71"/>
              <a:gd name="T22" fmla="*/ 42353 w 106"/>
              <a:gd name="T23" fmla="*/ 35417 h 71"/>
              <a:gd name="T24" fmla="*/ 44031 w 106"/>
              <a:gd name="T25" fmla="*/ 44271 h 71"/>
              <a:gd name="T26" fmla="*/ 44450 w 106"/>
              <a:gd name="T27" fmla="*/ 48296 h 71"/>
              <a:gd name="T28" fmla="*/ 44450 w 106"/>
              <a:gd name="T29" fmla="*/ 50711 h 71"/>
              <a:gd name="T30" fmla="*/ 44031 w 106"/>
              <a:gd name="T31" fmla="*/ 53930 h 71"/>
              <a:gd name="T32" fmla="*/ 43192 w 106"/>
              <a:gd name="T33" fmla="*/ 55540 h 71"/>
              <a:gd name="T34" fmla="*/ 42353 w 106"/>
              <a:gd name="T35" fmla="*/ 56345 h 71"/>
              <a:gd name="T36" fmla="*/ 41095 w 106"/>
              <a:gd name="T37" fmla="*/ 56345 h 71"/>
              <a:gd name="T38" fmla="*/ 38579 w 106"/>
              <a:gd name="T39" fmla="*/ 56345 h 71"/>
              <a:gd name="T40" fmla="*/ 36483 w 106"/>
              <a:gd name="T41" fmla="*/ 54735 h 71"/>
              <a:gd name="T42" fmla="*/ 31031 w 106"/>
              <a:gd name="T43" fmla="*/ 56345 h 71"/>
              <a:gd name="T44" fmla="*/ 26418 w 106"/>
              <a:gd name="T45" fmla="*/ 57150 h 71"/>
              <a:gd name="T46" fmla="*/ 22225 w 106"/>
              <a:gd name="T47" fmla="*/ 55540 h 71"/>
              <a:gd name="T48" fmla="*/ 18870 w 106"/>
              <a:gd name="T49" fmla="*/ 53125 h 71"/>
              <a:gd name="T50" fmla="*/ 15516 w 106"/>
              <a:gd name="T51" fmla="*/ 49906 h 71"/>
              <a:gd name="T52" fmla="*/ 13419 w 106"/>
              <a:gd name="T53" fmla="*/ 45881 h 71"/>
              <a:gd name="T54" fmla="*/ 11322 w 106"/>
              <a:gd name="T55" fmla="*/ 41051 h 71"/>
              <a:gd name="T56" fmla="*/ 10064 w 106"/>
              <a:gd name="T57" fmla="*/ 36222 h 71"/>
              <a:gd name="T58" fmla="*/ 8806 w 106"/>
              <a:gd name="T59" fmla="*/ 30587 h 71"/>
              <a:gd name="T60" fmla="*/ 8387 w 106"/>
              <a:gd name="T61" fmla="*/ 24148 h 71"/>
              <a:gd name="T62" fmla="*/ 7967 w 106"/>
              <a:gd name="T63" fmla="*/ 19318 h 71"/>
              <a:gd name="T64" fmla="*/ 7548 w 106"/>
              <a:gd name="T65" fmla="*/ 15294 h 71"/>
              <a:gd name="T66" fmla="*/ 7548 w 106"/>
              <a:gd name="T67" fmla="*/ 11269 h 71"/>
              <a:gd name="T68" fmla="*/ 7967 w 106"/>
              <a:gd name="T69" fmla="*/ 8049 h 71"/>
              <a:gd name="T70" fmla="*/ 8387 w 106"/>
              <a:gd name="T71" fmla="*/ 5635 h 71"/>
              <a:gd name="T72" fmla="*/ 8806 w 106"/>
              <a:gd name="T73" fmla="*/ 5635 h 71"/>
              <a:gd name="T74" fmla="*/ 8387 w 106"/>
              <a:gd name="T75" fmla="*/ 8049 h 71"/>
              <a:gd name="T76" fmla="*/ 7967 w 106"/>
              <a:gd name="T77" fmla="*/ 12879 h 71"/>
              <a:gd name="T78" fmla="*/ 7967 w 106"/>
              <a:gd name="T79" fmla="*/ 13684 h 71"/>
              <a:gd name="T80" fmla="*/ 7967 w 106"/>
              <a:gd name="T81" fmla="*/ 13684 h 71"/>
              <a:gd name="T82" fmla="*/ 8387 w 106"/>
              <a:gd name="T83" fmla="*/ 13684 h 71"/>
              <a:gd name="T84" fmla="*/ 8806 w 106"/>
              <a:gd name="T85" fmla="*/ 13684 h 71"/>
              <a:gd name="T86" fmla="*/ 9645 w 106"/>
              <a:gd name="T87" fmla="*/ 10464 h 71"/>
              <a:gd name="T88" fmla="*/ 11322 w 106"/>
              <a:gd name="T89" fmla="*/ 5635 h 71"/>
              <a:gd name="T90" fmla="*/ 0 w 106"/>
              <a:gd name="T91" fmla="*/ 5635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082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2594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9 w 59"/>
                <a:gd name="T1" fmla="*/ 14 h 43"/>
                <a:gd name="T2" fmla="*/ 20 w 59"/>
                <a:gd name="T3" fmla="*/ 6 h 43"/>
                <a:gd name="T4" fmla="*/ 19 w 59"/>
                <a:gd name="T5" fmla="*/ 5 h 43"/>
                <a:gd name="T6" fmla="*/ 17 w 59"/>
                <a:gd name="T7" fmla="*/ 3 h 43"/>
                <a:gd name="T8" fmla="*/ 16 w 59"/>
                <a:gd name="T9" fmla="*/ 2 h 43"/>
                <a:gd name="T10" fmla="*/ 16 w 59"/>
                <a:gd name="T11" fmla="*/ 0 h 43"/>
                <a:gd name="T12" fmla="*/ 14 w 59"/>
                <a:gd name="T13" fmla="*/ 0 h 43"/>
                <a:gd name="T14" fmla="*/ 12 w 59"/>
                <a:gd name="T15" fmla="*/ 1 h 43"/>
                <a:gd name="T16" fmla="*/ 11 w 59"/>
                <a:gd name="T17" fmla="*/ 2 h 43"/>
                <a:gd name="T18" fmla="*/ 10 w 59"/>
                <a:gd name="T19" fmla="*/ 3 h 43"/>
                <a:gd name="T20" fmla="*/ 9 w 59"/>
                <a:gd name="T21" fmla="*/ 3 h 43"/>
                <a:gd name="T22" fmla="*/ 9 w 59"/>
                <a:gd name="T23" fmla="*/ 4 h 43"/>
                <a:gd name="T24" fmla="*/ 7 w 59"/>
                <a:gd name="T25" fmla="*/ 4 h 43"/>
                <a:gd name="T26" fmla="*/ 4 w 59"/>
                <a:gd name="T27" fmla="*/ 5 h 43"/>
                <a:gd name="T28" fmla="*/ 2 w 59"/>
                <a:gd name="T29" fmla="*/ 7 h 43"/>
                <a:gd name="T30" fmla="*/ 0 w 59"/>
                <a:gd name="T31" fmla="*/ 8 h 43"/>
                <a:gd name="T32" fmla="*/ 2 w 59"/>
                <a:gd name="T33" fmla="*/ 9 h 43"/>
                <a:gd name="T34" fmla="*/ 3 w 59"/>
                <a:gd name="T35" fmla="*/ 11 h 43"/>
                <a:gd name="T36" fmla="*/ 6 w 59"/>
                <a:gd name="T37" fmla="*/ 13 h 43"/>
                <a:gd name="T38" fmla="*/ 9 w 59"/>
                <a:gd name="T39" fmla="*/ 14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5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1 h 51"/>
                <a:gd name="T2" fmla="*/ 8 w 67"/>
                <a:gd name="T3" fmla="*/ 0 h 51"/>
                <a:gd name="T4" fmla="*/ 13 w 67"/>
                <a:gd name="T5" fmla="*/ 0 h 51"/>
                <a:gd name="T6" fmla="*/ 15 w 67"/>
                <a:gd name="T7" fmla="*/ 0 h 51"/>
                <a:gd name="T8" fmla="*/ 17 w 67"/>
                <a:gd name="T9" fmla="*/ 1 h 51"/>
                <a:gd name="T10" fmla="*/ 19 w 67"/>
                <a:gd name="T11" fmla="*/ 1 h 51"/>
                <a:gd name="T12" fmla="*/ 22 w 67"/>
                <a:gd name="T13" fmla="*/ 3 h 51"/>
                <a:gd name="T14" fmla="*/ 18 w 67"/>
                <a:gd name="T15" fmla="*/ 4 h 51"/>
                <a:gd name="T16" fmla="*/ 15 w 67"/>
                <a:gd name="T17" fmla="*/ 6 h 51"/>
                <a:gd name="T18" fmla="*/ 14 w 67"/>
                <a:gd name="T19" fmla="*/ 7 h 51"/>
                <a:gd name="T20" fmla="*/ 12 w 67"/>
                <a:gd name="T21" fmla="*/ 8 h 51"/>
                <a:gd name="T22" fmla="*/ 10 w 67"/>
                <a:gd name="T23" fmla="*/ 9 h 51"/>
                <a:gd name="T24" fmla="*/ 7 w 67"/>
                <a:gd name="T25" fmla="*/ 9 h 51"/>
                <a:gd name="T26" fmla="*/ 8 w 67"/>
                <a:gd name="T27" fmla="*/ 9 h 51"/>
                <a:gd name="T28" fmla="*/ 11 w 67"/>
                <a:gd name="T29" fmla="*/ 9 h 51"/>
                <a:gd name="T30" fmla="*/ 10 w 67"/>
                <a:gd name="T31" fmla="*/ 11 h 51"/>
                <a:gd name="T32" fmla="*/ 8 w 67"/>
                <a:gd name="T33" fmla="*/ 13 h 51"/>
                <a:gd name="T34" fmla="*/ 7 w 67"/>
                <a:gd name="T35" fmla="*/ 15 h 51"/>
                <a:gd name="T36" fmla="*/ 7 w 67"/>
                <a:gd name="T37" fmla="*/ 15 h 51"/>
                <a:gd name="T38" fmla="*/ 4 w 67"/>
                <a:gd name="T39" fmla="*/ 16 h 51"/>
                <a:gd name="T40" fmla="*/ 0 w 67"/>
                <a:gd name="T41" fmla="*/ 17 h 51"/>
                <a:gd name="T42" fmla="*/ 0 w 67"/>
                <a:gd name="T43" fmla="*/ 1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83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25913 h 34"/>
              <a:gd name="T2" fmla="*/ 397 w 80"/>
              <a:gd name="T3" fmla="*/ 32824 h 34"/>
              <a:gd name="T4" fmla="*/ 794 w 80"/>
              <a:gd name="T5" fmla="*/ 36279 h 34"/>
              <a:gd name="T6" fmla="*/ 1588 w 80"/>
              <a:gd name="T7" fmla="*/ 41461 h 34"/>
              <a:gd name="T8" fmla="*/ 2778 w 80"/>
              <a:gd name="T9" fmla="*/ 44917 h 34"/>
              <a:gd name="T10" fmla="*/ 5159 w 80"/>
              <a:gd name="T11" fmla="*/ 50099 h 34"/>
              <a:gd name="T12" fmla="*/ 8731 w 80"/>
              <a:gd name="T13" fmla="*/ 53554 h 34"/>
              <a:gd name="T14" fmla="*/ 15875 w 80"/>
              <a:gd name="T15" fmla="*/ 57009 h 34"/>
              <a:gd name="T16" fmla="*/ 21431 w 80"/>
              <a:gd name="T17" fmla="*/ 58737 h 34"/>
              <a:gd name="T18" fmla="*/ 23019 w 80"/>
              <a:gd name="T19" fmla="*/ 57009 h 34"/>
              <a:gd name="T20" fmla="*/ 24606 w 80"/>
              <a:gd name="T21" fmla="*/ 55282 h 34"/>
              <a:gd name="T22" fmla="*/ 25797 w 80"/>
              <a:gd name="T23" fmla="*/ 50099 h 34"/>
              <a:gd name="T24" fmla="*/ 26591 w 80"/>
              <a:gd name="T25" fmla="*/ 46644 h 34"/>
              <a:gd name="T26" fmla="*/ 28972 w 80"/>
              <a:gd name="T27" fmla="*/ 36279 h 34"/>
              <a:gd name="T28" fmla="*/ 31750 w 80"/>
              <a:gd name="T29" fmla="*/ 25913 h 34"/>
              <a:gd name="T30" fmla="*/ 29766 w 80"/>
              <a:gd name="T31" fmla="*/ 17276 h 34"/>
              <a:gd name="T32" fmla="*/ 27781 w 80"/>
              <a:gd name="T33" fmla="*/ 12093 h 34"/>
              <a:gd name="T34" fmla="*/ 25797 w 80"/>
              <a:gd name="T35" fmla="*/ 6910 h 34"/>
              <a:gd name="T36" fmla="*/ 23813 w 80"/>
              <a:gd name="T37" fmla="*/ 3455 h 34"/>
              <a:gd name="T38" fmla="*/ 21828 w 80"/>
              <a:gd name="T39" fmla="*/ 0 h 34"/>
              <a:gd name="T40" fmla="*/ 20241 w 80"/>
              <a:gd name="T41" fmla="*/ 0 h 34"/>
              <a:gd name="T42" fmla="*/ 17859 w 80"/>
              <a:gd name="T43" fmla="*/ 1728 h 34"/>
              <a:gd name="T44" fmla="*/ 16272 w 80"/>
              <a:gd name="T45" fmla="*/ 3455 h 34"/>
              <a:gd name="T46" fmla="*/ 13494 w 80"/>
              <a:gd name="T47" fmla="*/ 3455 h 34"/>
              <a:gd name="T48" fmla="*/ 8334 w 80"/>
              <a:gd name="T49" fmla="*/ 3455 h 34"/>
              <a:gd name="T50" fmla="*/ 5159 w 80"/>
              <a:gd name="T51" fmla="*/ 5183 h 34"/>
              <a:gd name="T52" fmla="*/ 2778 w 80"/>
              <a:gd name="T53" fmla="*/ 8638 h 34"/>
              <a:gd name="T54" fmla="*/ 1588 w 80"/>
              <a:gd name="T55" fmla="*/ 12093 h 34"/>
              <a:gd name="T56" fmla="*/ 794 w 80"/>
              <a:gd name="T57" fmla="*/ 15548 h 34"/>
              <a:gd name="T58" fmla="*/ 397 w 80"/>
              <a:gd name="T59" fmla="*/ 19003 h 34"/>
              <a:gd name="T60" fmla="*/ 0 w 80"/>
              <a:gd name="T61" fmla="*/ 25913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4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1588 w 7"/>
              <a:gd name="T3" fmla="*/ 58737 h 13"/>
              <a:gd name="T4" fmla="*/ 1588 w 7"/>
              <a:gd name="T5" fmla="*/ 31628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5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2223 w 20"/>
              <a:gd name="T3" fmla="*/ 29369 h 6"/>
              <a:gd name="T4" fmla="*/ 6350 w 20"/>
              <a:gd name="T5" fmla="*/ 58738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6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57150 h 12"/>
              <a:gd name="T2" fmla="*/ 7937 w 14"/>
              <a:gd name="T3" fmla="*/ 0 h 12"/>
              <a:gd name="T4" fmla="*/ 0 w 14"/>
              <a:gd name="T5" fmla="*/ 57150 h 1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7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33564 h 7"/>
              <a:gd name="T4" fmla="*/ 823 w 27"/>
              <a:gd name="T5" fmla="*/ 50346 h 7"/>
              <a:gd name="T6" fmla="*/ 2881 w 27"/>
              <a:gd name="T7" fmla="*/ 58737 h 7"/>
              <a:gd name="T8" fmla="*/ 4116 w 27"/>
              <a:gd name="T9" fmla="*/ 58737 h 7"/>
              <a:gd name="T10" fmla="*/ 6174 w 27"/>
              <a:gd name="T11" fmla="*/ 50346 h 7"/>
              <a:gd name="T12" fmla="*/ 7820 w 27"/>
              <a:gd name="T13" fmla="*/ 33564 h 7"/>
              <a:gd name="T14" fmla="*/ 9467 w 27"/>
              <a:gd name="T15" fmla="*/ 16782 h 7"/>
              <a:gd name="T16" fmla="*/ 11113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8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5821 w 27"/>
              <a:gd name="T3" fmla="*/ 30163 h 6"/>
              <a:gd name="T4" fmla="*/ 14287 w 27"/>
              <a:gd name="T5" fmla="*/ 60325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9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90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91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58738 h 24"/>
              <a:gd name="T2" fmla="*/ 1111 w 20"/>
              <a:gd name="T3" fmla="*/ 58738 h 24"/>
              <a:gd name="T4" fmla="*/ 3334 w 20"/>
              <a:gd name="T5" fmla="*/ 53843 h 24"/>
              <a:gd name="T6" fmla="*/ 5001 w 20"/>
              <a:gd name="T7" fmla="*/ 48948 h 24"/>
              <a:gd name="T8" fmla="*/ 6668 w 20"/>
              <a:gd name="T9" fmla="*/ 39159 h 24"/>
              <a:gd name="T10" fmla="*/ 8335 w 20"/>
              <a:gd name="T11" fmla="*/ 31816 h 24"/>
              <a:gd name="T12" fmla="*/ 10002 w 20"/>
              <a:gd name="T13" fmla="*/ 22027 h 24"/>
              <a:gd name="T14" fmla="*/ 10557 w 20"/>
              <a:gd name="T15" fmla="*/ 9790 h 24"/>
              <a:gd name="T16" fmla="*/ 11113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2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6879 w 33"/>
              <a:gd name="T1" fmla="*/ 15558 h 25"/>
              <a:gd name="T2" fmla="*/ 0 w 33"/>
              <a:gd name="T3" fmla="*/ 42228 h 25"/>
              <a:gd name="T4" fmla="*/ 5292 w 33"/>
              <a:gd name="T5" fmla="*/ 44450 h 25"/>
              <a:gd name="T6" fmla="*/ 10054 w 33"/>
              <a:gd name="T7" fmla="*/ 48895 h 25"/>
              <a:gd name="T8" fmla="*/ 14288 w 33"/>
              <a:gd name="T9" fmla="*/ 55563 h 25"/>
              <a:gd name="T10" fmla="*/ 17463 w 33"/>
              <a:gd name="T11" fmla="*/ 55563 h 25"/>
              <a:gd name="T12" fmla="*/ 17463 w 33"/>
              <a:gd name="T13" fmla="*/ 0 h 25"/>
              <a:gd name="T14" fmla="*/ 14288 w 33"/>
              <a:gd name="T15" fmla="*/ 0 h 25"/>
              <a:gd name="T16" fmla="*/ 6879 w 33"/>
              <a:gd name="T17" fmla="*/ 15558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3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1191 w 40"/>
              <a:gd name="T3" fmla="*/ 19050 h 18"/>
              <a:gd name="T4" fmla="*/ 2381 w 40"/>
              <a:gd name="T5" fmla="*/ 34925 h 18"/>
              <a:gd name="T6" fmla="*/ 3969 w 40"/>
              <a:gd name="T7" fmla="*/ 44450 h 18"/>
              <a:gd name="T8" fmla="*/ 5953 w 40"/>
              <a:gd name="T9" fmla="*/ 50800 h 18"/>
              <a:gd name="T10" fmla="*/ 10716 w 40"/>
              <a:gd name="T11" fmla="*/ 57150 h 18"/>
              <a:gd name="T12" fmla="*/ 15875 w 40"/>
              <a:gd name="T13" fmla="*/ 57150 h 18"/>
              <a:gd name="T14" fmla="*/ 15875 w 40"/>
              <a:gd name="T15" fmla="*/ 0 h 18"/>
              <a:gd name="T16" fmla="*/ 11906 w 40"/>
              <a:gd name="T17" fmla="*/ 0 h 18"/>
              <a:gd name="T18" fmla="*/ 7938 w 40"/>
              <a:gd name="T19" fmla="*/ 0 h 18"/>
              <a:gd name="T20" fmla="*/ 3969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4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1155 w 11"/>
              <a:gd name="T1" fmla="*/ 57150 h 32"/>
              <a:gd name="T2" fmla="*/ 1732 w 11"/>
              <a:gd name="T3" fmla="*/ 50006 h 32"/>
              <a:gd name="T4" fmla="*/ 2309 w 11"/>
              <a:gd name="T5" fmla="*/ 44648 h 32"/>
              <a:gd name="T6" fmla="*/ 2598 w 11"/>
              <a:gd name="T7" fmla="*/ 39291 h 32"/>
              <a:gd name="T8" fmla="*/ 2886 w 11"/>
              <a:gd name="T9" fmla="*/ 32147 h 32"/>
              <a:gd name="T10" fmla="*/ 3175 w 11"/>
              <a:gd name="T11" fmla="*/ 16073 h 32"/>
              <a:gd name="T12" fmla="*/ 3175 w 11"/>
              <a:gd name="T13" fmla="*/ 0 h 32"/>
              <a:gd name="T14" fmla="*/ 1732 w 11"/>
              <a:gd name="T15" fmla="*/ 5358 h 32"/>
              <a:gd name="T16" fmla="*/ 866 w 11"/>
              <a:gd name="T17" fmla="*/ 12502 h 32"/>
              <a:gd name="T18" fmla="*/ 289 w 11"/>
              <a:gd name="T19" fmla="*/ 19645 h 32"/>
              <a:gd name="T20" fmla="*/ 0 w 11"/>
              <a:gd name="T21" fmla="*/ 28575 h 32"/>
              <a:gd name="T22" fmla="*/ 0 w 11"/>
              <a:gd name="T23" fmla="*/ 35719 h 32"/>
              <a:gd name="T24" fmla="*/ 289 w 11"/>
              <a:gd name="T25" fmla="*/ 42863 h 32"/>
              <a:gd name="T26" fmla="*/ 577 w 11"/>
              <a:gd name="T27" fmla="*/ 50006 h 32"/>
              <a:gd name="T28" fmla="*/ 1155 w 11"/>
              <a:gd name="T29" fmla="*/ 57150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5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55562 h 24"/>
              <a:gd name="T4" fmla="*/ 1588 w 14"/>
              <a:gd name="T5" fmla="*/ 27781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6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39158 h 18"/>
              <a:gd name="T2" fmla="*/ 4116 w 27"/>
              <a:gd name="T3" fmla="*/ 48948 h 18"/>
              <a:gd name="T4" fmla="*/ 7644 w 27"/>
              <a:gd name="T5" fmla="*/ 58737 h 18"/>
              <a:gd name="T6" fmla="*/ 12935 w 27"/>
              <a:gd name="T7" fmla="*/ 22842 h 18"/>
              <a:gd name="T8" fmla="*/ 15875 w 27"/>
              <a:gd name="T9" fmla="*/ 0 h 18"/>
              <a:gd name="T10" fmla="*/ 12935 w 27"/>
              <a:gd name="T11" fmla="*/ 0 h 18"/>
              <a:gd name="T12" fmla="*/ 10583 w 27"/>
              <a:gd name="T13" fmla="*/ 3263 h 18"/>
              <a:gd name="T14" fmla="*/ 7644 w 27"/>
              <a:gd name="T15" fmla="*/ 6526 h 18"/>
              <a:gd name="T16" fmla="*/ 5880 w 27"/>
              <a:gd name="T17" fmla="*/ 13053 h 18"/>
              <a:gd name="T18" fmla="*/ 2940 w 27"/>
              <a:gd name="T19" fmla="*/ 26105 h 18"/>
              <a:gd name="T20" fmla="*/ 0 w 27"/>
              <a:gd name="T21" fmla="*/ 39158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7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41988 h 49"/>
              <a:gd name="T2" fmla="*/ 507 w 47"/>
              <a:gd name="T3" fmla="*/ 45487 h 49"/>
              <a:gd name="T4" fmla="*/ 1013 w 47"/>
              <a:gd name="T5" fmla="*/ 47819 h 49"/>
              <a:gd name="T6" fmla="*/ 2027 w 47"/>
              <a:gd name="T7" fmla="*/ 50152 h 49"/>
              <a:gd name="T8" fmla="*/ 3040 w 47"/>
              <a:gd name="T9" fmla="*/ 52485 h 49"/>
              <a:gd name="T10" fmla="*/ 6080 w 47"/>
              <a:gd name="T11" fmla="*/ 55984 h 49"/>
              <a:gd name="T12" fmla="*/ 7093 w 47"/>
              <a:gd name="T13" fmla="*/ 57150 h 49"/>
              <a:gd name="T14" fmla="*/ 9119 w 47"/>
              <a:gd name="T15" fmla="*/ 57150 h 49"/>
              <a:gd name="T16" fmla="*/ 12159 w 47"/>
              <a:gd name="T17" fmla="*/ 53651 h 49"/>
              <a:gd name="T18" fmla="*/ 14693 w 47"/>
              <a:gd name="T19" fmla="*/ 48986 h 49"/>
              <a:gd name="T20" fmla="*/ 17732 w 47"/>
              <a:gd name="T21" fmla="*/ 45487 h 49"/>
              <a:gd name="T22" fmla="*/ 19759 w 47"/>
              <a:gd name="T23" fmla="*/ 40821 h 49"/>
              <a:gd name="T24" fmla="*/ 22292 w 47"/>
              <a:gd name="T25" fmla="*/ 36156 h 49"/>
              <a:gd name="T26" fmla="*/ 23305 w 47"/>
              <a:gd name="T27" fmla="*/ 31491 h 49"/>
              <a:gd name="T28" fmla="*/ 23812 w 47"/>
              <a:gd name="T29" fmla="*/ 27992 h 49"/>
              <a:gd name="T30" fmla="*/ 23812 w 47"/>
              <a:gd name="T31" fmla="*/ 13996 h 49"/>
              <a:gd name="T32" fmla="*/ 23812 w 47"/>
              <a:gd name="T33" fmla="*/ 0 h 49"/>
              <a:gd name="T34" fmla="*/ 13679 w 47"/>
              <a:gd name="T35" fmla="*/ 0 h 49"/>
              <a:gd name="T36" fmla="*/ 8613 w 47"/>
              <a:gd name="T37" fmla="*/ 9331 h 49"/>
              <a:gd name="T38" fmla="*/ 4560 w 47"/>
              <a:gd name="T39" fmla="*/ 18661 h 49"/>
              <a:gd name="T40" fmla="*/ 2533 w 47"/>
              <a:gd name="T41" fmla="*/ 23327 h 49"/>
              <a:gd name="T42" fmla="*/ 1013 w 47"/>
              <a:gd name="T43" fmla="*/ 29158 h 49"/>
              <a:gd name="T44" fmla="*/ 507 w 47"/>
              <a:gd name="T45" fmla="*/ 34990 h 49"/>
              <a:gd name="T46" fmla="*/ 0 w 47"/>
              <a:gd name="T47" fmla="*/ 41988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8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5400 h 9"/>
              <a:gd name="T4" fmla="*/ 1465 w 26"/>
              <a:gd name="T5" fmla="*/ 44450 h 9"/>
              <a:gd name="T6" fmla="*/ 2931 w 26"/>
              <a:gd name="T7" fmla="*/ 50800 h 9"/>
              <a:gd name="T8" fmla="*/ 5373 w 26"/>
              <a:gd name="T9" fmla="*/ 57150 h 9"/>
              <a:gd name="T10" fmla="*/ 7327 w 26"/>
              <a:gd name="T11" fmla="*/ 50800 h 9"/>
              <a:gd name="T12" fmla="*/ 9769 w 26"/>
              <a:gd name="T13" fmla="*/ 44450 h 9"/>
              <a:gd name="T14" fmla="*/ 11235 w 26"/>
              <a:gd name="T15" fmla="*/ 25400 h 9"/>
              <a:gd name="T16" fmla="*/ 12700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9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57150 h 18"/>
              <a:gd name="T4" fmla="*/ 2442 w 39"/>
              <a:gd name="T5" fmla="*/ 57150 h 18"/>
              <a:gd name="T6" fmla="*/ 5292 w 39"/>
              <a:gd name="T7" fmla="*/ 57150 h 18"/>
              <a:gd name="T8" fmla="*/ 9362 w 39"/>
              <a:gd name="T9" fmla="*/ 53975 h 18"/>
              <a:gd name="T10" fmla="*/ 12212 w 39"/>
              <a:gd name="T11" fmla="*/ 44450 h 18"/>
              <a:gd name="T12" fmla="*/ 13840 w 39"/>
              <a:gd name="T13" fmla="*/ 38100 h 18"/>
              <a:gd name="T14" fmla="*/ 15061 w 39"/>
              <a:gd name="T15" fmla="*/ 31750 h 18"/>
              <a:gd name="T16" fmla="*/ 15468 w 39"/>
              <a:gd name="T17" fmla="*/ 25400 h 18"/>
              <a:gd name="T18" fmla="*/ 15875 w 39"/>
              <a:gd name="T19" fmla="*/ 19050 h 18"/>
              <a:gd name="T20" fmla="*/ 11804 w 39"/>
              <a:gd name="T21" fmla="*/ 15875 h 18"/>
              <a:gd name="T22" fmla="*/ 7734 w 39"/>
              <a:gd name="T23" fmla="*/ 9525 h 18"/>
              <a:gd name="T24" fmla="*/ 4071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00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2584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8 h 25"/>
                <a:gd name="T2" fmla="*/ 2 w 52"/>
                <a:gd name="T3" fmla="*/ 8 h 25"/>
                <a:gd name="T4" fmla="*/ 5 w 52"/>
                <a:gd name="T5" fmla="*/ 8 h 25"/>
                <a:gd name="T6" fmla="*/ 7 w 52"/>
                <a:gd name="T7" fmla="*/ 7 h 25"/>
                <a:gd name="T8" fmla="*/ 9 w 52"/>
                <a:gd name="T9" fmla="*/ 6 h 25"/>
                <a:gd name="T10" fmla="*/ 12 w 52"/>
                <a:gd name="T11" fmla="*/ 5 h 25"/>
                <a:gd name="T12" fmla="*/ 13 w 52"/>
                <a:gd name="T13" fmla="*/ 4 h 25"/>
                <a:gd name="T14" fmla="*/ 15 w 52"/>
                <a:gd name="T15" fmla="*/ 2 h 25"/>
                <a:gd name="T16" fmla="*/ 16 w 52"/>
                <a:gd name="T17" fmla="*/ 0 h 25"/>
                <a:gd name="T18" fmla="*/ 12 w 52"/>
                <a:gd name="T19" fmla="*/ 0 h 25"/>
                <a:gd name="T20" fmla="*/ 10 w 52"/>
                <a:gd name="T21" fmla="*/ 0 h 25"/>
                <a:gd name="T22" fmla="*/ 7 w 52"/>
                <a:gd name="T23" fmla="*/ 0 h 25"/>
                <a:gd name="T24" fmla="*/ 5 w 52"/>
                <a:gd name="T25" fmla="*/ 1 h 25"/>
                <a:gd name="T26" fmla="*/ 3 w 52"/>
                <a:gd name="T27" fmla="*/ 2 h 25"/>
                <a:gd name="T28" fmla="*/ 2 w 52"/>
                <a:gd name="T29" fmla="*/ 3 h 25"/>
                <a:gd name="T30" fmla="*/ 1 w 52"/>
                <a:gd name="T31" fmla="*/ 5 h 25"/>
                <a:gd name="T32" fmla="*/ 0 w 52"/>
                <a:gd name="T33" fmla="*/ 8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5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2 h 13"/>
                <a:gd name="T4" fmla="*/ 0 w 33"/>
                <a:gd name="T5" fmla="*/ 4 h 13"/>
                <a:gd name="T6" fmla="*/ 3 w 33"/>
                <a:gd name="T7" fmla="*/ 4 h 13"/>
                <a:gd name="T8" fmla="*/ 5 w 33"/>
                <a:gd name="T9" fmla="*/ 4 h 13"/>
                <a:gd name="T10" fmla="*/ 8 w 33"/>
                <a:gd name="T11" fmla="*/ 3 h 13"/>
                <a:gd name="T12" fmla="*/ 11 w 33"/>
                <a:gd name="T13" fmla="*/ 2 h 13"/>
                <a:gd name="T14" fmla="*/ 8 w 33"/>
                <a:gd name="T15" fmla="*/ 1 h 13"/>
                <a:gd name="T16" fmla="*/ 5 w 33"/>
                <a:gd name="T17" fmla="*/ 0 h 13"/>
                <a:gd name="T18" fmla="*/ 3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6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8 w 67"/>
                <a:gd name="T1" fmla="*/ 6 h 86"/>
                <a:gd name="T2" fmla="*/ 0 w 67"/>
                <a:gd name="T3" fmla="*/ 0 h 86"/>
                <a:gd name="T4" fmla="*/ 8 w 67"/>
                <a:gd name="T5" fmla="*/ 0 h 86"/>
                <a:gd name="T6" fmla="*/ 9 w 67"/>
                <a:gd name="T7" fmla="*/ 1 h 86"/>
                <a:gd name="T8" fmla="*/ 10 w 67"/>
                <a:gd name="T9" fmla="*/ 3 h 86"/>
                <a:gd name="T10" fmla="*/ 11 w 67"/>
                <a:gd name="T11" fmla="*/ 4 h 86"/>
                <a:gd name="T12" fmla="*/ 12 w 67"/>
                <a:gd name="T13" fmla="*/ 5 h 86"/>
                <a:gd name="T14" fmla="*/ 14 w 67"/>
                <a:gd name="T15" fmla="*/ 6 h 86"/>
                <a:gd name="T16" fmla="*/ 16 w 67"/>
                <a:gd name="T17" fmla="*/ 6 h 86"/>
                <a:gd name="T18" fmla="*/ 17 w 67"/>
                <a:gd name="T19" fmla="*/ 10 h 86"/>
                <a:gd name="T20" fmla="*/ 19 w 67"/>
                <a:gd name="T21" fmla="*/ 13 h 86"/>
                <a:gd name="T22" fmla="*/ 19 w 67"/>
                <a:gd name="T23" fmla="*/ 15 h 86"/>
                <a:gd name="T24" fmla="*/ 20 w 67"/>
                <a:gd name="T25" fmla="*/ 16 h 86"/>
                <a:gd name="T26" fmla="*/ 20 w 67"/>
                <a:gd name="T27" fmla="*/ 18 h 86"/>
                <a:gd name="T28" fmla="*/ 20 w 67"/>
                <a:gd name="T29" fmla="*/ 20 h 86"/>
                <a:gd name="T30" fmla="*/ 19 w 67"/>
                <a:gd name="T31" fmla="*/ 24 h 86"/>
                <a:gd name="T32" fmla="*/ 18 w 67"/>
                <a:gd name="T33" fmla="*/ 28 h 86"/>
                <a:gd name="T34" fmla="*/ 16 w 67"/>
                <a:gd name="T35" fmla="*/ 22 h 86"/>
                <a:gd name="T36" fmla="*/ 15 w 67"/>
                <a:gd name="T37" fmla="*/ 18 h 86"/>
                <a:gd name="T38" fmla="*/ 15 w 67"/>
                <a:gd name="T39" fmla="*/ 15 h 86"/>
                <a:gd name="T40" fmla="*/ 15 w 67"/>
                <a:gd name="T41" fmla="*/ 13 h 86"/>
                <a:gd name="T42" fmla="*/ 15 w 67"/>
                <a:gd name="T43" fmla="*/ 11 h 86"/>
                <a:gd name="T44" fmla="*/ 16 w 67"/>
                <a:gd name="T45" fmla="*/ 10 h 86"/>
                <a:gd name="T46" fmla="*/ 13 w 67"/>
                <a:gd name="T47" fmla="*/ 10 h 86"/>
                <a:gd name="T48" fmla="*/ 10 w 67"/>
                <a:gd name="T49" fmla="*/ 9 h 86"/>
                <a:gd name="T50" fmla="*/ 10 w 67"/>
                <a:gd name="T51" fmla="*/ 9 h 86"/>
                <a:gd name="T52" fmla="*/ 8 w 67"/>
                <a:gd name="T53" fmla="*/ 8 h 86"/>
                <a:gd name="T54" fmla="*/ 8 w 67"/>
                <a:gd name="T55" fmla="*/ 7 h 86"/>
                <a:gd name="T56" fmla="*/ 8 w 67"/>
                <a:gd name="T57" fmla="*/ 6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7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9 w 49"/>
                <a:gd name="T1" fmla="*/ 4 h 86"/>
                <a:gd name="T2" fmla="*/ 7 w 49"/>
                <a:gd name="T3" fmla="*/ 2 h 86"/>
                <a:gd name="T4" fmla="*/ 5 w 49"/>
                <a:gd name="T5" fmla="*/ 0 h 86"/>
                <a:gd name="T6" fmla="*/ 3 w 49"/>
                <a:gd name="T7" fmla="*/ 2 h 86"/>
                <a:gd name="T8" fmla="*/ 2 w 49"/>
                <a:gd name="T9" fmla="*/ 4 h 86"/>
                <a:gd name="T10" fmla="*/ 0 w 49"/>
                <a:gd name="T11" fmla="*/ 7 h 86"/>
                <a:gd name="T12" fmla="*/ 0 w 49"/>
                <a:gd name="T13" fmla="*/ 10 h 86"/>
                <a:gd name="T14" fmla="*/ 0 w 49"/>
                <a:gd name="T15" fmla="*/ 12 h 86"/>
                <a:gd name="T16" fmla="*/ 1 w 49"/>
                <a:gd name="T17" fmla="*/ 14 h 86"/>
                <a:gd name="T18" fmla="*/ 2 w 49"/>
                <a:gd name="T19" fmla="*/ 16 h 86"/>
                <a:gd name="T20" fmla="*/ 3 w 49"/>
                <a:gd name="T21" fmla="*/ 19 h 86"/>
                <a:gd name="T22" fmla="*/ 4 w 49"/>
                <a:gd name="T23" fmla="*/ 21 h 86"/>
                <a:gd name="T24" fmla="*/ 6 w 49"/>
                <a:gd name="T25" fmla="*/ 24 h 86"/>
                <a:gd name="T26" fmla="*/ 7 w 49"/>
                <a:gd name="T27" fmla="*/ 26 h 86"/>
                <a:gd name="T28" fmla="*/ 9 w 49"/>
                <a:gd name="T29" fmla="*/ 28 h 86"/>
                <a:gd name="T30" fmla="*/ 10 w 49"/>
                <a:gd name="T31" fmla="*/ 26 h 86"/>
                <a:gd name="T32" fmla="*/ 12 w 49"/>
                <a:gd name="T33" fmla="*/ 22 h 86"/>
                <a:gd name="T34" fmla="*/ 14 w 49"/>
                <a:gd name="T35" fmla="*/ 19 h 86"/>
                <a:gd name="T36" fmla="*/ 15 w 49"/>
                <a:gd name="T37" fmla="*/ 15 h 86"/>
                <a:gd name="T38" fmla="*/ 16 w 49"/>
                <a:gd name="T39" fmla="*/ 13 h 86"/>
                <a:gd name="T40" fmla="*/ 16 w 49"/>
                <a:gd name="T41" fmla="*/ 11 h 86"/>
                <a:gd name="T42" fmla="*/ 16 w 49"/>
                <a:gd name="T43" fmla="*/ 8 h 86"/>
                <a:gd name="T44" fmla="*/ 16 w 49"/>
                <a:gd name="T45" fmla="*/ 7 h 86"/>
                <a:gd name="T46" fmla="*/ 14 w 49"/>
                <a:gd name="T47" fmla="*/ 6 h 86"/>
                <a:gd name="T48" fmla="*/ 13 w 49"/>
                <a:gd name="T49" fmla="*/ 5 h 86"/>
                <a:gd name="T50" fmla="*/ 11 w 49"/>
                <a:gd name="T51" fmla="*/ 4 h 86"/>
                <a:gd name="T52" fmla="*/ 9 w 49"/>
                <a:gd name="T53" fmla="*/ 4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8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4 h 12"/>
                <a:gd name="T2" fmla="*/ 2 w 6"/>
                <a:gd name="T3" fmla="*/ 0 h 12"/>
                <a:gd name="T4" fmla="*/ 1 w 6"/>
                <a:gd name="T5" fmla="*/ 0 h 12"/>
                <a:gd name="T6" fmla="*/ 1 w 6"/>
                <a:gd name="T7" fmla="*/ 1 h 12"/>
                <a:gd name="T8" fmla="*/ 0 w 6"/>
                <a:gd name="T9" fmla="*/ 1 h 12"/>
                <a:gd name="T10" fmla="*/ 0 w 6"/>
                <a:gd name="T11" fmla="*/ 2 h 12"/>
                <a:gd name="T12" fmla="*/ 0 w 6"/>
                <a:gd name="T13" fmla="*/ 3 h 12"/>
                <a:gd name="T14" fmla="*/ 0 w 6"/>
                <a:gd name="T15" fmla="*/ 4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9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4 w 39"/>
                <a:gd name="T3" fmla="*/ 3 h 48"/>
                <a:gd name="T4" fmla="*/ 7 w 39"/>
                <a:gd name="T5" fmla="*/ 5 h 48"/>
                <a:gd name="T6" fmla="*/ 11 w 39"/>
                <a:gd name="T7" fmla="*/ 8 h 48"/>
                <a:gd name="T8" fmla="*/ 13 w 39"/>
                <a:gd name="T9" fmla="*/ 9 h 48"/>
                <a:gd name="T10" fmla="*/ 12 w 39"/>
                <a:gd name="T11" fmla="*/ 12 h 48"/>
                <a:gd name="T12" fmla="*/ 11 w 39"/>
                <a:gd name="T13" fmla="*/ 15 h 48"/>
                <a:gd name="T14" fmla="*/ 6 w 39"/>
                <a:gd name="T15" fmla="*/ 11 h 48"/>
                <a:gd name="T16" fmla="*/ 3 w 39"/>
                <a:gd name="T17" fmla="*/ 8 h 48"/>
                <a:gd name="T18" fmla="*/ 1 w 39"/>
                <a:gd name="T19" fmla="*/ 7 h 48"/>
                <a:gd name="T20" fmla="*/ 1 w 39"/>
                <a:gd name="T21" fmla="*/ 5 h 48"/>
                <a:gd name="T22" fmla="*/ 0 w 39"/>
                <a:gd name="T23" fmla="*/ 3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0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3 w 16"/>
                <a:gd name="T1" fmla="*/ 0 h 43"/>
                <a:gd name="T2" fmla="*/ 4 w 16"/>
                <a:gd name="T3" fmla="*/ 3 h 43"/>
                <a:gd name="T4" fmla="*/ 6 w 16"/>
                <a:gd name="T5" fmla="*/ 5 h 43"/>
                <a:gd name="T6" fmla="*/ 6 w 16"/>
                <a:gd name="T7" fmla="*/ 7 h 43"/>
                <a:gd name="T8" fmla="*/ 6 w 16"/>
                <a:gd name="T9" fmla="*/ 9 h 43"/>
                <a:gd name="T10" fmla="*/ 6 w 16"/>
                <a:gd name="T11" fmla="*/ 10 h 43"/>
                <a:gd name="T12" fmla="*/ 4 w 16"/>
                <a:gd name="T13" fmla="*/ 11 h 43"/>
                <a:gd name="T14" fmla="*/ 3 w 16"/>
                <a:gd name="T15" fmla="*/ 13 h 43"/>
                <a:gd name="T16" fmla="*/ 0 w 16"/>
                <a:gd name="T17" fmla="*/ 14 h 43"/>
                <a:gd name="T18" fmla="*/ 1 w 16"/>
                <a:gd name="T19" fmla="*/ 9 h 43"/>
                <a:gd name="T20" fmla="*/ 2 w 16"/>
                <a:gd name="T21" fmla="*/ 6 h 43"/>
                <a:gd name="T22" fmla="*/ 2 w 16"/>
                <a:gd name="T23" fmla="*/ 3 h 43"/>
                <a:gd name="T24" fmla="*/ 3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1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8 w 24"/>
                <a:gd name="T1" fmla="*/ 12 h 37"/>
                <a:gd name="T2" fmla="*/ 6 w 24"/>
                <a:gd name="T3" fmla="*/ 9 h 37"/>
                <a:gd name="T4" fmla="*/ 5 w 24"/>
                <a:gd name="T5" fmla="*/ 6 h 37"/>
                <a:gd name="T6" fmla="*/ 4 w 24"/>
                <a:gd name="T7" fmla="*/ 3 h 37"/>
                <a:gd name="T8" fmla="*/ 4 w 24"/>
                <a:gd name="T9" fmla="*/ 0 h 37"/>
                <a:gd name="T10" fmla="*/ 2 w 24"/>
                <a:gd name="T11" fmla="*/ 3 h 37"/>
                <a:gd name="T12" fmla="*/ 1 w 24"/>
                <a:gd name="T13" fmla="*/ 6 h 37"/>
                <a:gd name="T14" fmla="*/ 0 w 24"/>
                <a:gd name="T15" fmla="*/ 8 h 37"/>
                <a:gd name="T16" fmla="*/ 0 w 24"/>
                <a:gd name="T17" fmla="*/ 10 h 37"/>
                <a:gd name="T18" fmla="*/ 0 w 24"/>
                <a:gd name="T19" fmla="*/ 11 h 37"/>
                <a:gd name="T20" fmla="*/ 1 w 24"/>
                <a:gd name="T21" fmla="*/ 11 h 37"/>
                <a:gd name="T22" fmla="*/ 1 w 24"/>
                <a:gd name="T23" fmla="*/ 12 h 37"/>
                <a:gd name="T24" fmla="*/ 2 w 24"/>
                <a:gd name="T25" fmla="*/ 12 h 37"/>
                <a:gd name="T26" fmla="*/ 5 w 24"/>
                <a:gd name="T27" fmla="*/ 12 h 37"/>
                <a:gd name="T28" fmla="*/ 8 w 24"/>
                <a:gd name="T29" fmla="*/ 12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2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11 w 34"/>
                <a:gd name="T1" fmla="*/ 0 h 55"/>
                <a:gd name="T2" fmla="*/ 11 w 34"/>
                <a:gd name="T3" fmla="*/ 4 h 55"/>
                <a:gd name="T4" fmla="*/ 11 w 34"/>
                <a:gd name="T5" fmla="*/ 8 h 55"/>
                <a:gd name="T6" fmla="*/ 11 w 34"/>
                <a:gd name="T7" fmla="*/ 10 h 55"/>
                <a:gd name="T8" fmla="*/ 10 w 34"/>
                <a:gd name="T9" fmla="*/ 12 h 55"/>
                <a:gd name="T10" fmla="*/ 9 w 34"/>
                <a:gd name="T11" fmla="*/ 13 h 55"/>
                <a:gd name="T12" fmla="*/ 8 w 34"/>
                <a:gd name="T13" fmla="*/ 15 h 55"/>
                <a:gd name="T14" fmla="*/ 6 w 34"/>
                <a:gd name="T15" fmla="*/ 16 h 55"/>
                <a:gd name="T16" fmla="*/ 5 w 34"/>
                <a:gd name="T17" fmla="*/ 16 h 55"/>
                <a:gd name="T18" fmla="*/ 3 w 34"/>
                <a:gd name="T19" fmla="*/ 17 h 55"/>
                <a:gd name="T20" fmla="*/ 0 w 34"/>
                <a:gd name="T21" fmla="*/ 17 h 55"/>
                <a:gd name="T22" fmla="*/ 3 w 34"/>
                <a:gd name="T23" fmla="*/ 11 h 55"/>
                <a:gd name="T24" fmla="*/ 5 w 34"/>
                <a:gd name="T25" fmla="*/ 6 h 55"/>
                <a:gd name="T26" fmla="*/ 6 w 34"/>
                <a:gd name="T27" fmla="*/ 5 h 55"/>
                <a:gd name="T28" fmla="*/ 7 w 34"/>
                <a:gd name="T29" fmla="*/ 3 h 55"/>
                <a:gd name="T30" fmla="*/ 9 w 34"/>
                <a:gd name="T31" fmla="*/ 2 h 55"/>
                <a:gd name="T32" fmla="*/ 11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3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1 w 33"/>
                <a:gd name="T3" fmla="*/ 1 h 12"/>
                <a:gd name="T4" fmla="*/ 2 w 33"/>
                <a:gd name="T5" fmla="*/ 2 h 12"/>
                <a:gd name="T6" fmla="*/ 3 w 33"/>
                <a:gd name="T7" fmla="*/ 3 h 12"/>
                <a:gd name="T8" fmla="*/ 5 w 33"/>
                <a:gd name="T9" fmla="*/ 4 h 12"/>
                <a:gd name="T10" fmla="*/ 8 w 33"/>
                <a:gd name="T11" fmla="*/ 4 h 12"/>
                <a:gd name="T12" fmla="*/ 11 w 33"/>
                <a:gd name="T13" fmla="*/ 4 h 12"/>
                <a:gd name="T14" fmla="*/ 9 w 33"/>
                <a:gd name="T15" fmla="*/ 3 h 12"/>
                <a:gd name="T16" fmla="*/ 6 w 33"/>
                <a:gd name="T17" fmla="*/ 1 h 12"/>
                <a:gd name="T18" fmla="*/ 3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01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57150 h 62"/>
              <a:gd name="T2" fmla="*/ 0 w 33"/>
              <a:gd name="T3" fmla="*/ 48854 h 62"/>
              <a:gd name="T4" fmla="*/ 0 w 33"/>
              <a:gd name="T5" fmla="*/ 41480 h 62"/>
              <a:gd name="T6" fmla="*/ 0 w 33"/>
              <a:gd name="T7" fmla="*/ 34106 h 62"/>
              <a:gd name="T8" fmla="*/ 0 w 33"/>
              <a:gd name="T9" fmla="*/ 28575 h 62"/>
              <a:gd name="T10" fmla="*/ 0 w 33"/>
              <a:gd name="T11" fmla="*/ 23966 h 62"/>
              <a:gd name="T12" fmla="*/ 770 w 33"/>
              <a:gd name="T13" fmla="*/ 20279 h 62"/>
              <a:gd name="T14" fmla="*/ 1539 w 33"/>
              <a:gd name="T15" fmla="*/ 15670 h 62"/>
              <a:gd name="T16" fmla="*/ 3079 w 33"/>
              <a:gd name="T17" fmla="*/ 11983 h 62"/>
              <a:gd name="T18" fmla="*/ 5388 w 33"/>
              <a:gd name="T19" fmla="*/ 5531 h 62"/>
              <a:gd name="T20" fmla="*/ 7697 w 33"/>
              <a:gd name="T21" fmla="*/ 0 h 62"/>
              <a:gd name="T22" fmla="*/ 10006 w 33"/>
              <a:gd name="T23" fmla="*/ 5531 h 62"/>
              <a:gd name="T24" fmla="*/ 12700 w 33"/>
              <a:gd name="T25" fmla="*/ 11983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2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58737 h 18"/>
              <a:gd name="T2" fmla="*/ 0 w 26"/>
              <a:gd name="T3" fmla="*/ 0 h 18"/>
              <a:gd name="T4" fmla="*/ 9525 w 26"/>
              <a:gd name="T5" fmla="*/ 0 h 18"/>
              <a:gd name="T6" fmla="*/ 2198 w 26"/>
              <a:gd name="T7" fmla="*/ 39158 h 18"/>
              <a:gd name="T8" fmla="*/ 2198 w 26"/>
              <a:gd name="T9" fmla="*/ 19579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3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77788 w 180"/>
              <a:gd name="T1" fmla="*/ 120412 h 240"/>
              <a:gd name="T2" fmla="*/ 75627 w 180"/>
              <a:gd name="T3" fmla="*/ 120954 h 240"/>
              <a:gd name="T4" fmla="*/ 73899 w 180"/>
              <a:gd name="T5" fmla="*/ 120954 h 240"/>
              <a:gd name="T6" fmla="*/ 72170 w 180"/>
              <a:gd name="T7" fmla="*/ 122039 h 240"/>
              <a:gd name="T8" fmla="*/ 70874 w 180"/>
              <a:gd name="T9" fmla="*/ 123124 h 240"/>
              <a:gd name="T10" fmla="*/ 68281 w 180"/>
              <a:gd name="T11" fmla="*/ 125836 h 240"/>
              <a:gd name="T12" fmla="*/ 66120 w 180"/>
              <a:gd name="T13" fmla="*/ 130175 h 240"/>
              <a:gd name="T14" fmla="*/ 60502 w 180"/>
              <a:gd name="T15" fmla="*/ 125836 h 240"/>
              <a:gd name="T16" fmla="*/ 56612 w 180"/>
              <a:gd name="T17" fmla="*/ 120954 h 240"/>
              <a:gd name="T18" fmla="*/ 53155 w 180"/>
              <a:gd name="T19" fmla="*/ 116073 h 240"/>
              <a:gd name="T20" fmla="*/ 50994 w 180"/>
              <a:gd name="T21" fmla="*/ 111734 h 240"/>
              <a:gd name="T22" fmla="*/ 48401 w 180"/>
              <a:gd name="T23" fmla="*/ 105767 h 240"/>
              <a:gd name="T24" fmla="*/ 45808 w 180"/>
              <a:gd name="T25" fmla="*/ 100343 h 240"/>
              <a:gd name="T26" fmla="*/ 42351 w 180"/>
              <a:gd name="T27" fmla="*/ 94377 h 240"/>
              <a:gd name="T28" fmla="*/ 37598 w 180"/>
              <a:gd name="T29" fmla="*/ 87326 h 240"/>
              <a:gd name="T30" fmla="*/ 35437 w 180"/>
              <a:gd name="T31" fmla="*/ 82987 h 240"/>
              <a:gd name="T32" fmla="*/ 32412 w 180"/>
              <a:gd name="T33" fmla="*/ 79190 h 240"/>
              <a:gd name="T34" fmla="*/ 30251 w 180"/>
              <a:gd name="T35" fmla="*/ 75393 h 240"/>
              <a:gd name="T36" fmla="*/ 26794 w 180"/>
              <a:gd name="T37" fmla="*/ 72139 h 240"/>
              <a:gd name="T38" fmla="*/ 20743 w 180"/>
              <a:gd name="T39" fmla="*/ 65630 h 240"/>
              <a:gd name="T40" fmla="*/ 14261 w 180"/>
              <a:gd name="T41" fmla="*/ 59664 h 240"/>
              <a:gd name="T42" fmla="*/ 11668 w 180"/>
              <a:gd name="T43" fmla="*/ 56409 h 240"/>
              <a:gd name="T44" fmla="*/ 9075 w 180"/>
              <a:gd name="T45" fmla="*/ 53155 h 240"/>
              <a:gd name="T46" fmla="*/ 6482 w 180"/>
              <a:gd name="T47" fmla="*/ 49900 h 240"/>
              <a:gd name="T48" fmla="*/ 4322 w 180"/>
              <a:gd name="T49" fmla="*/ 45561 h 240"/>
              <a:gd name="T50" fmla="*/ 2593 w 180"/>
              <a:gd name="T51" fmla="*/ 41764 h 240"/>
              <a:gd name="T52" fmla="*/ 1729 w 180"/>
              <a:gd name="T53" fmla="*/ 36883 h 240"/>
              <a:gd name="T54" fmla="*/ 432 w 180"/>
              <a:gd name="T55" fmla="*/ 32544 h 240"/>
              <a:gd name="T56" fmla="*/ 0 w 180"/>
              <a:gd name="T57" fmla="*/ 27120 h 240"/>
              <a:gd name="T58" fmla="*/ 0 w 180"/>
              <a:gd name="T59" fmla="*/ 18984 h 240"/>
              <a:gd name="T60" fmla="*/ 0 w 180"/>
              <a:gd name="T61" fmla="*/ 13560 h 240"/>
              <a:gd name="T62" fmla="*/ 0 w 180"/>
              <a:gd name="T63" fmla="*/ 8136 h 240"/>
              <a:gd name="T64" fmla="*/ 0 w 180"/>
              <a:gd name="T65" fmla="*/ 0 h 240"/>
              <a:gd name="T66" fmla="*/ 4322 w 180"/>
              <a:gd name="T67" fmla="*/ 4339 h 240"/>
              <a:gd name="T68" fmla="*/ 8211 w 180"/>
              <a:gd name="T69" fmla="*/ 9221 h 240"/>
              <a:gd name="T70" fmla="*/ 11668 w 180"/>
              <a:gd name="T71" fmla="*/ 14645 h 240"/>
              <a:gd name="T72" fmla="*/ 14693 w 180"/>
              <a:gd name="T73" fmla="*/ 20611 h 240"/>
              <a:gd name="T74" fmla="*/ 17718 w 180"/>
              <a:gd name="T75" fmla="*/ 26035 h 240"/>
              <a:gd name="T76" fmla="*/ 19879 w 180"/>
              <a:gd name="T77" fmla="*/ 31459 h 240"/>
              <a:gd name="T78" fmla="*/ 22040 w 180"/>
              <a:gd name="T79" fmla="*/ 35798 h 240"/>
              <a:gd name="T80" fmla="*/ 23336 w 180"/>
              <a:gd name="T81" fmla="*/ 40137 h 240"/>
              <a:gd name="T82" fmla="*/ 25929 w 180"/>
              <a:gd name="T83" fmla="*/ 46646 h 240"/>
              <a:gd name="T84" fmla="*/ 28522 w 180"/>
              <a:gd name="T85" fmla="*/ 53155 h 240"/>
              <a:gd name="T86" fmla="*/ 31980 w 180"/>
              <a:gd name="T87" fmla="*/ 58036 h 240"/>
              <a:gd name="T88" fmla="*/ 35437 w 180"/>
              <a:gd name="T89" fmla="*/ 62918 h 240"/>
              <a:gd name="T90" fmla="*/ 43216 w 180"/>
              <a:gd name="T91" fmla="*/ 72139 h 240"/>
              <a:gd name="T92" fmla="*/ 51427 w 180"/>
              <a:gd name="T93" fmla="*/ 80817 h 240"/>
              <a:gd name="T94" fmla="*/ 60070 w 180"/>
              <a:gd name="T95" fmla="*/ 88953 h 240"/>
              <a:gd name="T96" fmla="*/ 66984 w 180"/>
              <a:gd name="T97" fmla="*/ 97631 h 240"/>
              <a:gd name="T98" fmla="*/ 70441 w 180"/>
              <a:gd name="T99" fmla="*/ 102513 h 240"/>
              <a:gd name="T100" fmla="*/ 73034 w 180"/>
              <a:gd name="T101" fmla="*/ 107937 h 240"/>
              <a:gd name="T102" fmla="*/ 75627 w 180"/>
              <a:gd name="T103" fmla="*/ 113903 h 240"/>
              <a:gd name="T104" fmla="*/ 77788 w 180"/>
              <a:gd name="T105" fmla="*/ 120412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4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529 w 27"/>
              <a:gd name="T3" fmla="*/ 9525 h 30"/>
              <a:gd name="T4" fmla="*/ 1588 w 27"/>
              <a:gd name="T5" fmla="*/ 20955 h 30"/>
              <a:gd name="T6" fmla="*/ 2117 w 27"/>
              <a:gd name="T7" fmla="*/ 26670 h 30"/>
              <a:gd name="T8" fmla="*/ 2117 w 27"/>
              <a:gd name="T9" fmla="*/ 36195 h 30"/>
              <a:gd name="T10" fmla="*/ 1588 w 27"/>
              <a:gd name="T11" fmla="*/ 45720 h 30"/>
              <a:gd name="T12" fmla="*/ 0 w 27"/>
              <a:gd name="T13" fmla="*/ 57150 h 30"/>
              <a:gd name="T14" fmla="*/ 8996 w 27"/>
              <a:gd name="T15" fmla="*/ 51435 h 30"/>
              <a:gd name="T16" fmla="*/ 14288 w 27"/>
              <a:gd name="T17" fmla="*/ 45720 h 30"/>
              <a:gd name="T18" fmla="*/ 12171 w 27"/>
              <a:gd name="T19" fmla="*/ 38100 h 30"/>
              <a:gd name="T20" fmla="*/ 8996 w 27"/>
              <a:gd name="T21" fmla="*/ 22860 h 30"/>
              <a:gd name="T22" fmla="*/ 5821 w 27"/>
              <a:gd name="T23" fmla="*/ 15240 h 30"/>
              <a:gd name="T24" fmla="*/ 3704 w 27"/>
              <a:gd name="T25" fmla="*/ 7620 h 30"/>
              <a:gd name="T26" fmla="*/ 2117 w 27"/>
              <a:gd name="T27" fmla="*/ 1905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0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</p:grpSpPr>
        <p:sp>
          <p:nvSpPr>
            <p:cNvPr id="2581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10 h 33"/>
                <a:gd name="T2" fmla="*/ 1 w 53"/>
                <a:gd name="T3" fmla="*/ 9 h 33"/>
                <a:gd name="T4" fmla="*/ 2 w 53"/>
                <a:gd name="T5" fmla="*/ 7 h 33"/>
                <a:gd name="T6" fmla="*/ 5 w 53"/>
                <a:gd name="T7" fmla="*/ 5 h 33"/>
                <a:gd name="T8" fmla="*/ 6 w 53"/>
                <a:gd name="T9" fmla="*/ 4 h 33"/>
                <a:gd name="T10" fmla="*/ 9 w 53"/>
                <a:gd name="T11" fmla="*/ 2 h 33"/>
                <a:gd name="T12" fmla="*/ 11 w 53"/>
                <a:gd name="T13" fmla="*/ 1 h 33"/>
                <a:gd name="T14" fmla="*/ 14 w 53"/>
                <a:gd name="T15" fmla="*/ 0 h 33"/>
                <a:gd name="T16" fmla="*/ 16 w 53"/>
                <a:gd name="T17" fmla="*/ 0 h 33"/>
                <a:gd name="T18" fmla="*/ 16 w 53"/>
                <a:gd name="T19" fmla="*/ 6 h 33"/>
                <a:gd name="T20" fmla="*/ 11 w 53"/>
                <a:gd name="T21" fmla="*/ 8 h 33"/>
                <a:gd name="T22" fmla="*/ 8 w 53"/>
                <a:gd name="T23" fmla="*/ 10 h 33"/>
                <a:gd name="T24" fmla="*/ 6 w 53"/>
                <a:gd name="T25" fmla="*/ 11 h 33"/>
                <a:gd name="T26" fmla="*/ 5 w 53"/>
                <a:gd name="T27" fmla="*/ 11 h 33"/>
                <a:gd name="T28" fmla="*/ 3 w 53"/>
                <a:gd name="T29" fmla="*/ 11 h 33"/>
                <a:gd name="T30" fmla="*/ 0 w 53"/>
                <a:gd name="T31" fmla="*/ 1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2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8 w 631"/>
                <a:gd name="T1" fmla="*/ 97 h 358"/>
                <a:gd name="T2" fmla="*/ 16 w 631"/>
                <a:gd name="T3" fmla="*/ 95 h 358"/>
                <a:gd name="T4" fmla="*/ 21 w 631"/>
                <a:gd name="T5" fmla="*/ 91 h 358"/>
                <a:gd name="T6" fmla="*/ 25 w 631"/>
                <a:gd name="T7" fmla="*/ 83 h 358"/>
                <a:gd name="T8" fmla="*/ 32 w 631"/>
                <a:gd name="T9" fmla="*/ 84 h 358"/>
                <a:gd name="T10" fmla="*/ 40 w 631"/>
                <a:gd name="T11" fmla="*/ 83 h 358"/>
                <a:gd name="T12" fmla="*/ 45 w 631"/>
                <a:gd name="T13" fmla="*/ 81 h 358"/>
                <a:gd name="T14" fmla="*/ 52 w 631"/>
                <a:gd name="T15" fmla="*/ 75 h 358"/>
                <a:gd name="T16" fmla="*/ 58 w 631"/>
                <a:gd name="T17" fmla="*/ 68 h 358"/>
                <a:gd name="T18" fmla="*/ 68 w 631"/>
                <a:gd name="T19" fmla="*/ 63 h 358"/>
                <a:gd name="T20" fmla="*/ 83 w 631"/>
                <a:gd name="T21" fmla="*/ 57 h 358"/>
                <a:gd name="T22" fmla="*/ 105 w 631"/>
                <a:gd name="T23" fmla="*/ 50 h 358"/>
                <a:gd name="T24" fmla="*/ 116 w 631"/>
                <a:gd name="T25" fmla="*/ 45 h 358"/>
                <a:gd name="T26" fmla="*/ 125 w 631"/>
                <a:gd name="T27" fmla="*/ 42 h 358"/>
                <a:gd name="T28" fmla="*/ 130 w 631"/>
                <a:gd name="T29" fmla="*/ 42 h 358"/>
                <a:gd name="T30" fmla="*/ 141 w 631"/>
                <a:gd name="T31" fmla="*/ 35 h 358"/>
                <a:gd name="T32" fmla="*/ 150 w 631"/>
                <a:gd name="T33" fmla="*/ 26 h 358"/>
                <a:gd name="T34" fmla="*/ 153 w 631"/>
                <a:gd name="T35" fmla="*/ 21 h 358"/>
                <a:gd name="T36" fmla="*/ 161 w 631"/>
                <a:gd name="T37" fmla="*/ 19 h 358"/>
                <a:gd name="T38" fmla="*/ 172 w 631"/>
                <a:gd name="T39" fmla="*/ 12 h 358"/>
                <a:gd name="T40" fmla="*/ 182 w 631"/>
                <a:gd name="T41" fmla="*/ 4 h 358"/>
                <a:gd name="T42" fmla="*/ 189 w 631"/>
                <a:gd name="T43" fmla="*/ 0 h 358"/>
                <a:gd name="T44" fmla="*/ 193 w 631"/>
                <a:gd name="T45" fmla="*/ 7 h 358"/>
                <a:gd name="T46" fmla="*/ 198 w 631"/>
                <a:gd name="T47" fmla="*/ 10 h 358"/>
                <a:gd name="T48" fmla="*/ 200 w 631"/>
                <a:gd name="T49" fmla="*/ 15 h 358"/>
                <a:gd name="T50" fmla="*/ 192 w 631"/>
                <a:gd name="T51" fmla="*/ 29 h 358"/>
                <a:gd name="T52" fmla="*/ 182 w 631"/>
                <a:gd name="T53" fmla="*/ 41 h 358"/>
                <a:gd name="T54" fmla="*/ 169 w 631"/>
                <a:gd name="T55" fmla="*/ 50 h 358"/>
                <a:gd name="T56" fmla="*/ 156 w 631"/>
                <a:gd name="T57" fmla="*/ 57 h 358"/>
                <a:gd name="T58" fmla="*/ 142 w 631"/>
                <a:gd name="T59" fmla="*/ 59 h 358"/>
                <a:gd name="T60" fmla="*/ 140 w 631"/>
                <a:gd name="T61" fmla="*/ 64 h 358"/>
                <a:gd name="T62" fmla="*/ 139 w 631"/>
                <a:gd name="T63" fmla="*/ 65 h 358"/>
                <a:gd name="T64" fmla="*/ 126 w 631"/>
                <a:gd name="T65" fmla="*/ 65 h 358"/>
                <a:gd name="T66" fmla="*/ 117 w 631"/>
                <a:gd name="T67" fmla="*/ 69 h 358"/>
                <a:gd name="T68" fmla="*/ 111 w 631"/>
                <a:gd name="T69" fmla="*/ 69 h 358"/>
                <a:gd name="T70" fmla="*/ 108 w 631"/>
                <a:gd name="T71" fmla="*/ 67 h 358"/>
                <a:gd name="T72" fmla="*/ 100 w 631"/>
                <a:gd name="T73" fmla="*/ 79 h 358"/>
                <a:gd name="T74" fmla="*/ 87 w 631"/>
                <a:gd name="T75" fmla="*/ 92 h 358"/>
                <a:gd name="T76" fmla="*/ 70 w 631"/>
                <a:gd name="T77" fmla="*/ 103 h 358"/>
                <a:gd name="T78" fmla="*/ 53 w 631"/>
                <a:gd name="T79" fmla="*/ 112 h 358"/>
                <a:gd name="T80" fmla="*/ 35 w 631"/>
                <a:gd name="T81" fmla="*/ 117 h 358"/>
                <a:gd name="T82" fmla="*/ 23 w 631"/>
                <a:gd name="T83" fmla="*/ 116 h 358"/>
                <a:gd name="T84" fmla="*/ 18 w 631"/>
                <a:gd name="T85" fmla="*/ 114 h 358"/>
                <a:gd name="T86" fmla="*/ 11 w 631"/>
                <a:gd name="T87" fmla="*/ 111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3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19 w 359"/>
                <a:gd name="T1" fmla="*/ 94 h 431"/>
                <a:gd name="T2" fmla="*/ 31 w 359"/>
                <a:gd name="T3" fmla="*/ 88 h 431"/>
                <a:gd name="T4" fmla="*/ 53 w 359"/>
                <a:gd name="T5" fmla="*/ 68 h 431"/>
                <a:gd name="T6" fmla="*/ 56 w 359"/>
                <a:gd name="T7" fmla="*/ 55 h 431"/>
                <a:gd name="T8" fmla="*/ 58 w 359"/>
                <a:gd name="T9" fmla="*/ 49 h 431"/>
                <a:gd name="T10" fmla="*/ 62 w 359"/>
                <a:gd name="T11" fmla="*/ 45 h 431"/>
                <a:gd name="T12" fmla="*/ 61 w 359"/>
                <a:gd name="T13" fmla="*/ 41 h 431"/>
                <a:gd name="T14" fmla="*/ 58 w 359"/>
                <a:gd name="T15" fmla="*/ 31 h 431"/>
                <a:gd name="T16" fmla="*/ 56 w 359"/>
                <a:gd name="T17" fmla="*/ 11 h 431"/>
                <a:gd name="T18" fmla="*/ 59 w 359"/>
                <a:gd name="T19" fmla="*/ 0 h 431"/>
                <a:gd name="T20" fmla="*/ 63 w 359"/>
                <a:gd name="T21" fmla="*/ 4 h 431"/>
                <a:gd name="T22" fmla="*/ 67 w 359"/>
                <a:gd name="T23" fmla="*/ 9 h 431"/>
                <a:gd name="T24" fmla="*/ 75 w 359"/>
                <a:gd name="T25" fmla="*/ 18 h 431"/>
                <a:gd name="T26" fmla="*/ 77 w 359"/>
                <a:gd name="T27" fmla="*/ 24 h 431"/>
                <a:gd name="T28" fmla="*/ 77 w 359"/>
                <a:gd name="T29" fmla="*/ 29 h 431"/>
                <a:gd name="T30" fmla="*/ 73 w 359"/>
                <a:gd name="T31" fmla="*/ 33 h 431"/>
                <a:gd name="T32" fmla="*/ 66 w 359"/>
                <a:gd name="T33" fmla="*/ 39 h 431"/>
                <a:gd name="T34" fmla="*/ 64 w 359"/>
                <a:gd name="T35" fmla="*/ 43 h 431"/>
                <a:gd name="T36" fmla="*/ 64 w 359"/>
                <a:gd name="T37" fmla="*/ 49 h 431"/>
                <a:gd name="T38" fmla="*/ 66 w 359"/>
                <a:gd name="T39" fmla="*/ 52 h 431"/>
                <a:gd name="T40" fmla="*/ 73 w 359"/>
                <a:gd name="T41" fmla="*/ 52 h 431"/>
                <a:gd name="T42" fmla="*/ 75 w 359"/>
                <a:gd name="T43" fmla="*/ 50 h 431"/>
                <a:gd name="T44" fmla="*/ 75 w 359"/>
                <a:gd name="T45" fmla="*/ 44 h 431"/>
                <a:gd name="T46" fmla="*/ 84 w 359"/>
                <a:gd name="T47" fmla="*/ 63 h 431"/>
                <a:gd name="T48" fmla="*/ 88 w 359"/>
                <a:gd name="T49" fmla="*/ 68 h 431"/>
                <a:gd name="T50" fmla="*/ 94 w 359"/>
                <a:gd name="T51" fmla="*/ 72 h 431"/>
                <a:gd name="T52" fmla="*/ 97 w 359"/>
                <a:gd name="T53" fmla="*/ 71 h 431"/>
                <a:gd name="T54" fmla="*/ 101 w 359"/>
                <a:gd name="T55" fmla="*/ 67 h 431"/>
                <a:gd name="T56" fmla="*/ 110 w 359"/>
                <a:gd name="T57" fmla="*/ 63 h 431"/>
                <a:gd name="T58" fmla="*/ 115 w 359"/>
                <a:gd name="T59" fmla="*/ 67 h 431"/>
                <a:gd name="T60" fmla="*/ 111 w 359"/>
                <a:gd name="T61" fmla="*/ 79 h 431"/>
                <a:gd name="T62" fmla="*/ 104 w 359"/>
                <a:gd name="T63" fmla="*/ 85 h 431"/>
                <a:gd name="T64" fmla="*/ 95 w 359"/>
                <a:gd name="T65" fmla="*/ 90 h 431"/>
                <a:gd name="T66" fmla="*/ 80 w 359"/>
                <a:gd name="T67" fmla="*/ 94 h 431"/>
                <a:gd name="T68" fmla="*/ 67 w 359"/>
                <a:gd name="T69" fmla="*/ 98 h 431"/>
                <a:gd name="T70" fmla="*/ 62 w 359"/>
                <a:gd name="T71" fmla="*/ 101 h 431"/>
                <a:gd name="T72" fmla="*/ 58 w 359"/>
                <a:gd name="T73" fmla="*/ 111 h 431"/>
                <a:gd name="T74" fmla="*/ 53 w 359"/>
                <a:gd name="T75" fmla="*/ 116 h 431"/>
                <a:gd name="T76" fmla="*/ 35 w 359"/>
                <a:gd name="T77" fmla="*/ 129 h 431"/>
                <a:gd name="T78" fmla="*/ 16 w 359"/>
                <a:gd name="T79" fmla="*/ 139 h 431"/>
                <a:gd name="T80" fmla="*/ 6 w 359"/>
                <a:gd name="T81" fmla="*/ 141 h 431"/>
                <a:gd name="T82" fmla="*/ 2 w 359"/>
                <a:gd name="T83" fmla="*/ 139 h 431"/>
                <a:gd name="T84" fmla="*/ 0 w 359"/>
                <a:gd name="T85" fmla="*/ 136 h 431"/>
                <a:gd name="T86" fmla="*/ 0 w 359"/>
                <a:gd name="T87" fmla="*/ 132 h 431"/>
                <a:gd name="T88" fmla="*/ 3 w 359"/>
                <a:gd name="T89" fmla="*/ 128 h 431"/>
                <a:gd name="T90" fmla="*/ 18 w 359"/>
                <a:gd name="T91" fmla="*/ 122 h 431"/>
                <a:gd name="T92" fmla="*/ 24 w 359"/>
                <a:gd name="T93" fmla="*/ 115 h 431"/>
                <a:gd name="T94" fmla="*/ 23 w 359"/>
                <a:gd name="T95" fmla="*/ 110 h 431"/>
                <a:gd name="T96" fmla="*/ 21 w 359"/>
                <a:gd name="T97" fmla="*/ 107 h 431"/>
                <a:gd name="T98" fmla="*/ 16 w 359"/>
                <a:gd name="T99" fmla="*/ 105 h 431"/>
                <a:gd name="T100" fmla="*/ 6 w 359"/>
                <a:gd name="T101" fmla="*/ 105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06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39636 h 62"/>
              <a:gd name="T2" fmla="*/ 454 w 21"/>
              <a:gd name="T3" fmla="*/ 26731 h 62"/>
              <a:gd name="T4" fmla="*/ 1361 w 21"/>
              <a:gd name="T5" fmla="*/ 15670 h 62"/>
              <a:gd name="T6" fmla="*/ 1814 w 21"/>
              <a:gd name="T7" fmla="*/ 10140 h 62"/>
              <a:gd name="T8" fmla="*/ 2721 w 21"/>
              <a:gd name="T9" fmla="*/ 6452 h 62"/>
              <a:gd name="T10" fmla="*/ 4082 w 21"/>
              <a:gd name="T11" fmla="*/ 2765 h 62"/>
              <a:gd name="T12" fmla="*/ 6804 w 21"/>
              <a:gd name="T13" fmla="*/ 0 h 62"/>
              <a:gd name="T14" fmla="*/ 6804 w 21"/>
              <a:gd name="T15" fmla="*/ 13827 h 62"/>
              <a:gd name="T16" fmla="*/ 8164 w 21"/>
              <a:gd name="T17" fmla="*/ 28575 h 62"/>
              <a:gd name="T18" fmla="*/ 9071 w 21"/>
              <a:gd name="T19" fmla="*/ 40558 h 62"/>
              <a:gd name="T20" fmla="*/ 9525 w 21"/>
              <a:gd name="T21" fmla="*/ 45167 h 62"/>
              <a:gd name="T22" fmla="*/ 4536 w 21"/>
              <a:gd name="T23" fmla="*/ 50698 h 62"/>
              <a:gd name="T24" fmla="*/ 0 w 21"/>
              <a:gd name="T25" fmla="*/ 57150 h 62"/>
              <a:gd name="T26" fmla="*/ 0 w 21"/>
              <a:gd name="T27" fmla="*/ 39636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7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2165 w 33"/>
              <a:gd name="T3" fmla="*/ 11906 h 24"/>
              <a:gd name="T4" fmla="*/ 4330 w 33"/>
              <a:gd name="T5" fmla="*/ 23813 h 24"/>
              <a:gd name="T6" fmla="*/ 4763 w 33"/>
              <a:gd name="T7" fmla="*/ 30956 h 24"/>
              <a:gd name="T8" fmla="*/ 5196 w 33"/>
              <a:gd name="T9" fmla="*/ 38100 h 24"/>
              <a:gd name="T10" fmla="*/ 5629 w 33"/>
              <a:gd name="T11" fmla="*/ 47625 h 24"/>
              <a:gd name="T12" fmla="*/ 5629 w 33"/>
              <a:gd name="T13" fmla="*/ 57150 h 24"/>
              <a:gd name="T14" fmla="*/ 14288 w 33"/>
              <a:gd name="T15" fmla="*/ 0 h 24"/>
              <a:gd name="T16" fmla="*/ 10391 w 33"/>
              <a:gd name="T17" fmla="*/ 0 h 24"/>
              <a:gd name="T18" fmla="*/ 6928 w 33"/>
              <a:gd name="T19" fmla="*/ 0 h 24"/>
              <a:gd name="T20" fmla="*/ 389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8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13759 w 33"/>
              <a:gd name="T1" fmla="*/ 58737 h 25"/>
              <a:gd name="T2" fmla="*/ 15346 w 33"/>
              <a:gd name="T3" fmla="*/ 51689 h 25"/>
              <a:gd name="T4" fmla="*/ 17463 w 33"/>
              <a:gd name="T5" fmla="*/ 42291 h 25"/>
              <a:gd name="T6" fmla="*/ 17463 w 33"/>
              <a:gd name="T7" fmla="*/ 0 h 25"/>
              <a:gd name="T8" fmla="*/ 13230 w 33"/>
              <a:gd name="T9" fmla="*/ 0 h 25"/>
              <a:gd name="T10" fmla="*/ 8467 w 33"/>
              <a:gd name="T11" fmla="*/ 0 h 25"/>
              <a:gd name="T12" fmla="*/ 3175 w 33"/>
              <a:gd name="T13" fmla="*/ 0 h 25"/>
              <a:gd name="T14" fmla="*/ 0 w 33"/>
              <a:gd name="T15" fmla="*/ 0 h 25"/>
              <a:gd name="T16" fmla="*/ 13759 w 33"/>
              <a:gd name="T17" fmla="*/ 5873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9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0 h 55563"/>
              <a:gd name="T2" fmla="*/ 1588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0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6350 w 16"/>
              <a:gd name="T1" fmla="*/ 0 h 25"/>
              <a:gd name="T2" fmla="*/ 6350 w 16"/>
              <a:gd name="T3" fmla="*/ 13716 h 25"/>
              <a:gd name="T4" fmla="*/ 5556 w 16"/>
              <a:gd name="T5" fmla="*/ 29718 h 25"/>
              <a:gd name="T6" fmla="*/ 5159 w 16"/>
              <a:gd name="T7" fmla="*/ 36576 h 25"/>
              <a:gd name="T8" fmla="*/ 4366 w 16"/>
              <a:gd name="T9" fmla="*/ 45720 h 25"/>
              <a:gd name="T10" fmla="*/ 2778 w 16"/>
              <a:gd name="T11" fmla="*/ 52578 h 25"/>
              <a:gd name="T12" fmla="*/ 1191 w 16"/>
              <a:gd name="T13" fmla="*/ 57150 h 25"/>
              <a:gd name="T14" fmla="*/ 397 w 16"/>
              <a:gd name="T15" fmla="*/ 54864 h 25"/>
              <a:gd name="T16" fmla="*/ 0 w 16"/>
              <a:gd name="T17" fmla="*/ 48006 h 25"/>
              <a:gd name="T18" fmla="*/ 397 w 16"/>
              <a:gd name="T19" fmla="*/ 41148 h 25"/>
              <a:gd name="T20" fmla="*/ 794 w 16"/>
              <a:gd name="T21" fmla="*/ 29718 h 25"/>
              <a:gd name="T22" fmla="*/ 1588 w 16"/>
              <a:gd name="T23" fmla="*/ 20574 h 25"/>
              <a:gd name="T24" fmla="*/ 2778 w 16"/>
              <a:gd name="T25" fmla="*/ 9144 h 25"/>
              <a:gd name="T26" fmla="*/ 4366 w 16"/>
              <a:gd name="T27" fmla="*/ 2286 h 25"/>
              <a:gd name="T28" fmla="*/ 6350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1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1021 w 14"/>
              <a:gd name="T3" fmla="*/ 3175 h 18"/>
              <a:gd name="T4" fmla="*/ 1701 w 14"/>
              <a:gd name="T5" fmla="*/ 6350 h 18"/>
              <a:gd name="T6" fmla="*/ 2382 w 14"/>
              <a:gd name="T7" fmla="*/ 12700 h 18"/>
              <a:gd name="T8" fmla="*/ 3062 w 14"/>
              <a:gd name="T9" fmla="*/ 22225 h 18"/>
              <a:gd name="T10" fmla="*/ 4423 w 14"/>
              <a:gd name="T11" fmla="*/ 41275 h 18"/>
              <a:gd name="T12" fmla="*/ 4763 w 14"/>
              <a:gd name="T13" fmla="*/ 57150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2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403 w 67"/>
              <a:gd name="T3" fmla="*/ 13494 h 74"/>
              <a:gd name="T4" fmla="*/ 1208 w 67"/>
              <a:gd name="T5" fmla="*/ 23812 h 74"/>
              <a:gd name="T6" fmla="*/ 2820 w 67"/>
              <a:gd name="T7" fmla="*/ 32543 h 74"/>
              <a:gd name="T8" fmla="*/ 4834 w 67"/>
              <a:gd name="T9" fmla="*/ 39687 h 74"/>
              <a:gd name="T10" fmla="*/ 6848 w 67"/>
              <a:gd name="T11" fmla="*/ 46037 h 74"/>
              <a:gd name="T12" fmla="*/ 9265 w 67"/>
              <a:gd name="T13" fmla="*/ 50800 h 74"/>
              <a:gd name="T14" fmla="*/ 11279 w 67"/>
              <a:gd name="T15" fmla="*/ 54768 h 74"/>
              <a:gd name="T16" fmla="*/ 13293 w 67"/>
              <a:gd name="T17" fmla="*/ 58737 h 74"/>
              <a:gd name="T18" fmla="*/ 17723 w 67"/>
              <a:gd name="T19" fmla="*/ 51593 h 74"/>
              <a:gd name="T20" fmla="*/ 22154 w 67"/>
              <a:gd name="T21" fmla="*/ 43656 h 74"/>
              <a:gd name="T22" fmla="*/ 23766 w 67"/>
              <a:gd name="T23" fmla="*/ 38893 h 74"/>
              <a:gd name="T24" fmla="*/ 25377 w 67"/>
              <a:gd name="T25" fmla="*/ 34131 h 74"/>
              <a:gd name="T26" fmla="*/ 26585 w 67"/>
              <a:gd name="T27" fmla="*/ 29369 h 74"/>
              <a:gd name="T28" fmla="*/ 26988 w 67"/>
              <a:gd name="T29" fmla="*/ 23812 h 74"/>
              <a:gd name="T30" fmla="*/ 26988 w 67"/>
              <a:gd name="T31" fmla="*/ 19844 h 74"/>
              <a:gd name="T32" fmla="*/ 26988 w 67"/>
              <a:gd name="T33" fmla="*/ 14287 h 74"/>
              <a:gd name="T34" fmla="*/ 26988 w 67"/>
              <a:gd name="T35" fmla="*/ 7144 h 74"/>
              <a:gd name="T36" fmla="*/ 26988 w 67"/>
              <a:gd name="T37" fmla="*/ 0 h 74"/>
              <a:gd name="T38" fmla="*/ 19335 w 67"/>
              <a:gd name="T39" fmla="*/ 0 h 74"/>
              <a:gd name="T40" fmla="*/ 13293 w 67"/>
              <a:gd name="T41" fmla="*/ 0 h 74"/>
              <a:gd name="T42" fmla="*/ 6848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3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747 w 34"/>
              <a:gd name="T3" fmla="*/ 4512 h 38"/>
              <a:gd name="T4" fmla="*/ 1494 w 34"/>
              <a:gd name="T5" fmla="*/ 10528 h 38"/>
              <a:gd name="T6" fmla="*/ 1868 w 34"/>
              <a:gd name="T7" fmla="*/ 16543 h 38"/>
              <a:gd name="T8" fmla="*/ 2241 w 34"/>
              <a:gd name="T9" fmla="*/ 24063 h 38"/>
              <a:gd name="T10" fmla="*/ 3735 w 34"/>
              <a:gd name="T11" fmla="*/ 42111 h 38"/>
              <a:gd name="T12" fmla="*/ 4856 w 34"/>
              <a:gd name="T13" fmla="*/ 57150 h 38"/>
              <a:gd name="T14" fmla="*/ 5976 w 34"/>
              <a:gd name="T15" fmla="*/ 55646 h 38"/>
              <a:gd name="T16" fmla="*/ 7471 w 34"/>
              <a:gd name="T17" fmla="*/ 54142 h 38"/>
              <a:gd name="T18" fmla="*/ 8591 w 34"/>
              <a:gd name="T19" fmla="*/ 51134 h 38"/>
              <a:gd name="T20" fmla="*/ 9712 w 34"/>
              <a:gd name="T21" fmla="*/ 46622 h 38"/>
              <a:gd name="T22" fmla="*/ 10459 w 34"/>
              <a:gd name="T23" fmla="*/ 42111 h 38"/>
              <a:gd name="T24" fmla="*/ 11953 w 34"/>
              <a:gd name="T25" fmla="*/ 36095 h 38"/>
              <a:gd name="T26" fmla="*/ 12326 w 34"/>
              <a:gd name="T27" fmla="*/ 31583 h 38"/>
              <a:gd name="T28" fmla="*/ 12700 w 34"/>
              <a:gd name="T29" fmla="*/ 28575 h 38"/>
              <a:gd name="T30" fmla="*/ 11579 w 34"/>
              <a:gd name="T31" fmla="*/ 27071 h 38"/>
              <a:gd name="T32" fmla="*/ 10459 w 34"/>
              <a:gd name="T33" fmla="*/ 25567 h 38"/>
              <a:gd name="T34" fmla="*/ 9712 w 34"/>
              <a:gd name="T35" fmla="*/ 21055 h 38"/>
              <a:gd name="T36" fmla="*/ 8965 w 34"/>
              <a:gd name="T37" fmla="*/ 18047 h 38"/>
              <a:gd name="T38" fmla="*/ 7097 w 34"/>
              <a:gd name="T39" fmla="*/ 9024 h 38"/>
              <a:gd name="T40" fmla="*/ 4856 w 34"/>
              <a:gd name="T41" fmla="*/ 0 h 38"/>
              <a:gd name="T42" fmla="*/ 2241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4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25400 w 53"/>
              <a:gd name="T1" fmla="*/ 55562 h 23"/>
              <a:gd name="T2" fmla="*/ 25400 w 53"/>
              <a:gd name="T3" fmla="*/ 9663 h 23"/>
              <a:gd name="T4" fmla="*/ 23483 w 53"/>
              <a:gd name="T5" fmla="*/ 4831 h 23"/>
              <a:gd name="T6" fmla="*/ 21566 w 53"/>
              <a:gd name="T7" fmla="*/ 2416 h 23"/>
              <a:gd name="T8" fmla="*/ 20128 w 53"/>
              <a:gd name="T9" fmla="*/ 0 h 23"/>
              <a:gd name="T10" fmla="*/ 18211 w 53"/>
              <a:gd name="T11" fmla="*/ 0 h 23"/>
              <a:gd name="T12" fmla="*/ 14857 w 53"/>
              <a:gd name="T13" fmla="*/ 2416 h 23"/>
              <a:gd name="T14" fmla="*/ 11502 w 53"/>
              <a:gd name="T15" fmla="*/ 9663 h 23"/>
              <a:gd name="T16" fmla="*/ 5272 w 53"/>
              <a:gd name="T17" fmla="*/ 31405 h 23"/>
              <a:gd name="T18" fmla="*/ 0 w 53"/>
              <a:gd name="T19" fmla="*/ 55562 h 23"/>
              <a:gd name="T20" fmla="*/ 25400 w 53"/>
              <a:gd name="T21" fmla="*/ 55562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5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1710 w 26"/>
              <a:gd name="T3" fmla="*/ 19050 h 12"/>
              <a:gd name="T4" fmla="*/ 4702 w 26"/>
              <a:gd name="T5" fmla="*/ 38100 h 12"/>
              <a:gd name="T6" fmla="*/ 5984 w 26"/>
              <a:gd name="T7" fmla="*/ 42863 h 12"/>
              <a:gd name="T8" fmla="*/ 7694 w 26"/>
              <a:gd name="T9" fmla="*/ 52388 h 12"/>
              <a:gd name="T10" fmla="*/ 9403 w 26"/>
              <a:gd name="T11" fmla="*/ 52388 h 12"/>
              <a:gd name="T12" fmla="*/ 11113 w 26"/>
              <a:gd name="T13" fmla="*/ 57150 h 12"/>
              <a:gd name="T14" fmla="*/ 8976 w 26"/>
              <a:gd name="T15" fmla="*/ 33338 h 12"/>
              <a:gd name="T16" fmla="*/ 5557 w 26"/>
              <a:gd name="T17" fmla="*/ 14288 h 12"/>
              <a:gd name="T18" fmla="*/ 2137 w 26"/>
              <a:gd name="T19" fmla="*/ 4763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6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0 h 57150"/>
              <a:gd name="T2" fmla="*/ 8699 w 73"/>
              <a:gd name="T3" fmla="*/ 0 h 57150"/>
              <a:gd name="T4" fmla="*/ 16092 w 73"/>
              <a:gd name="T5" fmla="*/ 0 h 57150"/>
              <a:gd name="T6" fmla="*/ 23921 w 73"/>
              <a:gd name="T7" fmla="*/ 0 h 57150"/>
              <a:gd name="T8" fmla="*/ 31750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7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5871 w 53"/>
              <a:gd name="T3" fmla="*/ 0 h 3"/>
              <a:gd name="T4" fmla="*/ 11322 w 53"/>
              <a:gd name="T5" fmla="*/ 57150 h 3"/>
              <a:gd name="T6" fmla="*/ 13419 w 53"/>
              <a:gd name="T7" fmla="*/ 57150 h 3"/>
              <a:gd name="T8" fmla="*/ 16354 w 53"/>
              <a:gd name="T9" fmla="*/ 57150 h 3"/>
              <a:gd name="T10" fmla="*/ 18870 w 53"/>
              <a:gd name="T11" fmla="*/ 19050 h 3"/>
              <a:gd name="T12" fmla="*/ 22225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8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19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6377 h 13"/>
              <a:gd name="T4" fmla="*/ 0 w 1588"/>
              <a:gd name="T5" fmla="*/ 57150 h 13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0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0 h 58738"/>
              <a:gd name="T2" fmla="*/ 8243 w 26"/>
              <a:gd name="T3" fmla="*/ 0 h 58738"/>
              <a:gd name="T4" fmla="*/ 14287 w 26"/>
              <a:gd name="T5" fmla="*/ 0 h 5873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1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6350 w 20"/>
              <a:gd name="T1" fmla="*/ 0 h 25"/>
              <a:gd name="T2" fmla="*/ 0 w 20"/>
              <a:gd name="T3" fmla="*/ 31369 h 25"/>
              <a:gd name="T4" fmla="*/ 1270 w 20"/>
              <a:gd name="T5" fmla="*/ 43434 h 25"/>
              <a:gd name="T6" fmla="*/ 3175 w 20"/>
              <a:gd name="T7" fmla="*/ 50673 h 25"/>
              <a:gd name="T8" fmla="*/ 4445 w 20"/>
              <a:gd name="T9" fmla="*/ 57912 h 25"/>
              <a:gd name="T10" fmla="*/ 6350 w 20"/>
              <a:gd name="T11" fmla="*/ 60325 h 25"/>
              <a:gd name="T12" fmla="*/ 6350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2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57150 h 24"/>
              <a:gd name="T2" fmla="*/ 0 w 6"/>
              <a:gd name="T3" fmla="*/ 0 h 24"/>
              <a:gd name="T4" fmla="*/ 1588 w 6"/>
              <a:gd name="T5" fmla="*/ 28575 h 24"/>
              <a:gd name="T6" fmla="*/ 0 w 6"/>
              <a:gd name="T7" fmla="*/ 57150 h 2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23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2572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6 w 19"/>
                <a:gd name="T1" fmla="*/ 9 h 25"/>
                <a:gd name="T2" fmla="*/ 6 w 19"/>
                <a:gd name="T3" fmla="*/ 7 h 25"/>
                <a:gd name="T4" fmla="*/ 5 w 19"/>
                <a:gd name="T5" fmla="*/ 4 h 25"/>
                <a:gd name="T6" fmla="*/ 5 w 19"/>
                <a:gd name="T7" fmla="*/ 3 h 25"/>
                <a:gd name="T8" fmla="*/ 5 w 19"/>
                <a:gd name="T9" fmla="*/ 2 h 25"/>
                <a:gd name="T10" fmla="*/ 5 w 19"/>
                <a:gd name="T11" fmla="*/ 1 h 25"/>
                <a:gd name="T12" fmla="*/ 6 w 19"/>
                <a:gd name="T13" fmla="*/ 0 h 25"/>
                <a:gd name="T14" fmla="*/ 0 w 19"/>
                <a:gd name="T15" fmla="*/ 0 h 25"/>
                <a:gd name="T16" fmla="*/ 0 w 19"/>
                <a:gd name="T17" fmla="*/ 3 h 25"/>
                <a:gd name="T18" fmla="*/ 2 w 19"/>
                <a:gd name="T19" fmla="*/ 5 h 25"/>
                <a:gd name="T20" fmla="*/ 2 w 19"/>
                <a:gd name="T21" fmla="*/ 7 h 25"/>
                <a:gd name="T22" fmla="*/ 3 w 19"/>
                <a:gd name="T23" fmla="*/ 8 h 25"/>
                <a:gd name="T24" fmla="*/ 5 w 19"/>
                <a:gd name="T25" fmla="*/ 9 h 25"/>
                <a:gd name="T26" fmla="*/ 6 w 19"/>
                <a:gd name="T27" fmla="*/ 9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3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7 w 26"/>
                <a:gd name="T1" fmla="*/ 6 h 18"/>
                <a:gd name="T2" fmla="*/ 2 w 26"/>
                <a:gd name="T3" fmla="*/ 6 h 18"/>
                <a:gd name="T4" fmla="*/ 1 w 26"/>
                <a:gd name="T5" fmla="*/ 3 h 18"/>
                <a:gd name="T6" fmla="*/ 0 w 26"/>
                <a:gd name="T7" fmla="*/ 0 h 18"/>
                <a:gd name="T8" fmla="*/ 2 w 26"/>
                <a:gd name="T9" fmla="*/ 1 h 18"/>
                <a:gd name="T10" fmla="*/ 4 w 26"/>
                <a:gd name="T11" fmla="*/ 2 h 18"/>
                <a:gd name="T12" fmla="*/ 5 w 26"/>
                <a:gd name="T13" fmla="*/ 4 h 18"/>
                <a:gd name="T14" fmla="*/ 7 w 26"/>
                <a:gd name="T15" fmla="*/ 6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4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6 h 18"/>
                <a:gd name="T2" fmla="*/ 5 w 13"/>
                <a:gd name="T3" fmla="*/ 0 h 18"/>
                <a:gd name="T4" fmla="*/ 0 w 13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5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8 h 24"/>
                <a:gd name="T2" fmla="*/ 1 w 26"/>
                <a:gd name="T3" fmla="*/ 8 h 24"/>
                <a:gd name="T4" fmla="*/ 2 w 26"/>
                <a:gd name="T5" fmla="*/ 7 h 24"/>
                <a:gd name="T6" fmla="*/ 3 w 26"/>
                <a:gd name="T7" fmla="*/ 6 h 24"/>
                <a:gd name="T8" fmla="*/ 5 w 26"/>
                <a:gd name="T9" fmla="*/ 5 h 24"/>
                <a:gd name="T10" fmla="*/ 6 w 26"/>
                <a:gd name="T11" fmla="*/ 4 h 24"/>
                <a:gd name="T12" fmla="*/ 7 w 26"/>
                <a:gd name="T13" fmla="*/ 3 h 24"/>
                <a:gd name="T14" fmla="*/ 8 w 26"/>
                <a:gd name="T15" fmla="*/ 1 h 24"/>
                <a:gd name="T16" fmla="*/ 8 w 26"/>
                <a:gd name="T17" fmla="*/ 0 h 24"/>
                <a:gd name="T18" fmla="*/ 0 w 2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6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2 h 6"/>
                <a:gd name="T2" fmla="*/ 3 w 34"/>
                <a:gd name="T3" fmla="*/ 2 h 6"/>
                <a:gd name="T4" fmla="*/ 6 w 34"/>
                <a:gd name="T5" fmla="*/ 2 h 6"/>
                <a:gd name="T6" fmla="*/ 8 w 34"/>
                <a:gd name="T7" fmla="*/ 1 h 6"/>
                <a:gd name="T8" fmla="*/ 11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7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78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7 h 19"/>
                <a:gd name="T2" fmla="*/ 0 w 1"/>
                <a:gd name="T3" fmla="*/ 3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9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0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4 w 14"/>
                <a:gd name="T1" fmla="*/ 0 h 6"/>
                <a:gd name="T2" fmla="*/ 2 w 14"/>
                <a:gd name="T3" fmla="*/ 1 h 6"/>
                <a:gd name="T4" fmla="*/ 0 w 14"/>
                <a:gd name="T5" fmla="*/ 2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24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3175 w 26"/>
              <a:gd name="T1" fmla="*/ 57150 h 111"/>
              <a:gd name="T2" fmla="*/ 2198 w 26"/>
              <a:gd name="T3" fmla="*/ 53031 h 111"/>
              <a:gd name="T4" fmla="*/ 977 w 26"/>
              <a:gd name="T5" fmla="*/ 48912 h 111"/>
              <a:gd name="T6" fmla="*/ 488 w 26"/>
              <a:gd name="T7" fmla="*/ 46853 h 111"/>
              <a:gd name="T8" fmla="*/ 244 w 26"/>
              <a:gd name="T9" fmla="*/ 44793 h 111"/>
              <a:gd name="T10" fmla="*/ 0 w 26"/>
              <a:gd name="T11" fmla="*/ 41189 h 111"/>
              <a:gd name="T12" fmla="*/ 0 w 26"/>
              <a:gd name="T13" fmla="*/ 38100 h 111"/>
              <a:gd name="T14" fmla="*/ 0 w 26"/>
              <a:gd name="T15" fmla="*/ 31407 h 111"/>
              <a:gd name="T16" fmla="*/ 244 w 26"/>
              <a:gd name="T17" fmla="*/ 26258 h 111"/>
              <a:gd name="T18" fmla="*/ 733 w 26"/>
              <a:gd name="T19" fmla="*/ 21109 h 111"/>
              <a:gd name="T20" fmla="*/ 1221 w 26"/>
              <a:gd name="T21" fmla="*/ 16991 h 111"/>
              <a:gd name="T22" fmla="*/ 2198 w 26"/>
              <a:gd name="T23" fmla="*/ 12357 h 111"/>
              <a:gd name="T24" fmla="*/ 3419 w 26"/>
              <a:gd name="T25" fmla="*/ 8753 h 111"/>
              <a:gd name="T26" fmla="*/ 4885 w 26"/>
              <a:gd name="T27" fmla="*/ 4634 h 111"/>
              <a:gd name="T28" fmla="*/ 6350 w 26"/>
              <a:gd name="T29" fmla="*/ 0 h 111"/>
              <a:gd name="T30" fmla="*/ 6350 w 26"/>
              <a:gd name="T31" fmla="*/ 3089 h 111"/>
              <a:gd name="T32" fmla="*/ 6350 w 26"/>
              <a:gd name="T33" fmla="*/ 6693 h 111"/>
              <a:gd name="T34" fmla="*/ 6350 w 26"/>
              <a:gd name="T35" fmla="*/ 11327 h 111"/>
              <a:gd name="T36" fmla="*/ 6350 w 26"/>
              <a:gd name="T37" fmla="*/ 16476 h 111"/>
              <a:gd name="T38" fmla="*/ 6106 w 26"/>
              <a:gd name="T39" fmla="*/ 22654 h 111"/>
              <a:gd name="T40" fmla="*/ 5373 w 26"/>
              <a:gd name="T41" fmla="*/ 28832 h 111"/>
              <a:gd name="T42" fmla="*/ 4396 w 26"/>
              <a:gd name="T43" fmla="*/ 34496 h 111"/>
              <a:gd name="T44" fmla="*/ 3175 w 26"/>
              <a:gd name="T45" fmla="*/ 41189 h 111"/>
              <a:gd name="T46" fmla="*/ 3175 w 26"/>
              <a:gd name="T47" fmla="*/ 57150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5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18000 h 62"/>
              <a:gd name="T2" fmla="*/ 4712 w 126"/>
              <a:gd name="T3" fmla="*/ 18948 h 62"/>
              <a:gd name="T4" fmla="*/ 8996 w 126"/>
              <a:gd name="T5" fmla="*/ 19895 h 62"/>
              <a:gd name="T6" fmla="*/ 12423 w 126"/>
              <a:gd name="T7" fmla="*/ 21790 h 62"/>
              <a:gd name="T8" fmla="*/ 15421 w 126"/>
              <a:gd name="T9" fmla="*/ 24632 h 62"/>
              <a:gd name="T10" fmla="*/ 21419 w 126"/>
              <a:gd name="T11" fmla="*/ 31264 h 62"/>
              <a:gd name="T12" fmla="*/ 26131 w 126"/>
              <a:gd name="T13" fmla="*/ 37895 h 62"/>
              <a:gd name="T14" fmla="*/ 29986 w 126"/>
              <a:gd name="T15" fmla="*/ 45475 h 62"/>
              <a:gd name="T16" fmla="*/ 33841 w 126"/>
              <a:gd name="T17" fmla="*/ 52106 h 62"/>
              <a:gd name="T18" fmla="*/ 35983 w 126"/>
              <a:gd name="T19" fmla="*/ 54948 h 62"/>
              <a:gd name="T20" fmla="*/ 38125 w 126"/>
              <a:gd name="T21" fmla="*/ 56843 h 62"/>
              <a:gd name="T22" fmla="*/ 40695 w 126"/>
              <a:gd name="T23" fmla="*/ 57791 h 62"/>
              <a:gd name="T24" fmla="*/ 42837 w 126"/>
              <a:gd name="T25" fmla="*/ 58738 h 62"/>
              <a:gd name="T26" fmla="*/ 44979 w 126"/>
              <a:gd name="T27" fmla="*/ 57791 h 62"/>
              <a:gd name="T28" fmla="*/ 46693 w 126"/>
              <a:gd name="T29" fmla="*/ 56843 h 62"/>
              <a:gd name="T30" fmla="*/ 48406 w 126"/>
              <a:gd name="T31" fmla="*/ 54948 h 62"/>
              <a:gd name="T32" fmla="*/ 50120 w 126"/>
              <a:gd name="T33" fmla="*/ 53054 h 62"/>
              <a:gd name="T34" fmla="*/ 52262 w 126"/>
              <a:gd name="T35" fmla="*/ 48317 h 62"/>
              <a:gd name="T36" fmla="*/ 53975 w 126"/>
              <a:gd name="T37" fmla="*/ 46422 h 62"/>
              <a:gd name="T38" fmla="*/ 47121 w 126"/>
              <a:gd name="T39" fmla="*/ 31264 h 62"/>
              <a:gd name="T40" fmla="*/ 41124 w 126"/>
              <a:gd name="T41" fmla="*/ 19895 h 62"/>
              <a:gd name="T42" fmla="*/ 38125 w 126"/>
              <a:gd name="T43" fmla="*/ 14211 h 62"/>
              <a:gd name="T44" fmla="*/ 34698 w 126"/>
              <a:gd name="T45" fmla="*/ 8526 h 62"/>
              <a:gd name="T46" fmla="*/ 30843 w 126"/>
              <a:gd name="T47" fmla="*/ 4737 h 62"/>
              <a:gd name="T48" fmla="*/ 26131 w 126"/>
              <a:gd name="T49" fmla="*/ 0 h 62"/>
              <a:gd name="T50" fmla="*/ 0 w 126"/>
              <a:gd name="T51" fmla="*/ 0 h 62"/>
              <a:gd name="T52" fmla="*/ 0 w 126"/>
              <a:gd name="T53" fmla="*/ 8526 h 62"/>
              <a:gd name="T54" fmla="*/ 0 w 126"/>
              <a:gd name="T55" fmla="*/ 18000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6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5941 w 66"/>
              <a:gd name="T3" fmla="*/ 1263 h 44"/>
              <a:gd name="T4" fmla="*/ 10511 w 66"/>
              <a:gd name="T5" fmla="*/ 2526 h 44"/>
              <a:gd name="T6" fmla="*/ 14624 w 66"/>
              <a:gd name="T7" fmla="*/ 5051 h 44"/>
              <a:gd name="T8" fmla="*/ 17367 w 66"/>
              <a:gd name="T9" fmla="*/ 8840 h 44"/>
              <a:gd name="T10" fmla="*/ 20109 w 66"/>
              <a:gd name="T11" fmla="*/ 11365 h 44"/>
              <a:gd name="T12" fmla="*/ 22851 w 66"/>
              <a:gd name="T13" fmla="*/ 13891 h 44"/>
              <a:gd name="T14" fmla="*/ 26050 w 66"/>
              <a:gd name="T15" fmla="*/ 15154 h 44"/>
              <a:gd name="T16" fmla="*/ 30163 w 66"/>
              <a:gd name="T17" fmla="*/ 16416 h 44"/>
              <a:gd name="T18" fmla="*/ 29706 w 66"/>
              <a:gd name="T19" fmla="*/ 21468 h 44"/>
              <a:gd name="T20" fmla="*/ 28335 w 66"/>
              <a:gd name="T21" fmla="*/ 26519 h 44"/>
              <a:gd name="T22" fmla="*/ 27421 w 66"/>
              <a:gd name="T23" fmla="*/ 31570 h 44"/>
              <a:gd name="T24" fmla="*/ 26050 w 66"/>
              <a:gd name="T25" fmla="*/ 35358 h 44"/>
              <a:gd name="T26" fmla="*/ 22394 w 66"/>
              <a:gd name="T27" fmla="*/ 42935 h 44"/>
              <a:gd name="T28" fmla="*/ 18281 w 66"/>
              <a:gd name="T29" fmla="*/ 49249 h 44"/>
              <a:gd name="T30" fmla="*/ 14167 w 66"/>
              <a:gd name="T31" fmla="*/ 53037 h 44"/>
              <a:gd name="T32" fmla="*/ 9597 w 66"/>
              <a:gd name="T33" fmla="*/ 55563 h 44"/>
              <a:gd name="T34" fmla="*/ 4570 w 66"/>
              <a:gd name="T35" fmla="*/ 55563 h 44"/>
              <a:gd name="T36" fmla="*/ 0 w 66"/>
              <a:gd name="T37" fmla="*/ 54300 h 44"/>
              <a:gd name="T38" fmla="*/ 0 w 66"/>
              <a:gd name="T39" fmla="*/ 39147 h 44"/>
              <a:gd name="T40" fmla="*/ 0 w 66"/>
              <a:gd name="T41" fmla="*/ 27782 h 44"/>
              <a:gd name="T42" fmla="*/ 0 w 66"/>
              <a:gd name="T43" fmla="*/ 15154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7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20637 w 46"/>
              <a:gd name="T1" fmla="*/ 0 h 16"/>
              <a:gd name="T2" fmla="*/ 17945 w 46"/>
              <a:gd name="T3" fmla="*/ 25003 h 16"/>
              <a:gd name="T4" fmla="*/ 15702 w 46"/>
              <a:gd name="T5" fmla="*/ 46434 h 16"/>
              <a:gd name="T6" fmla="*/ 13908 w 46"/>
              <a:gd name="T7" fmla="*/ 50006 h 16"/>
              <a:gd name="T8" fmla="*/ 13010 w 46"/>
              <a:gd name="T9" fmla="*/ 53578 h 16"/>
              <a:gd name="T10" fmla="*/ 11664 w 46"/>
              <a:gd name="T11" fmla="*/ 57150 h 16"/>
              <a:gd name="T12" fmla="*/ 10319 w 46"/>
              <a:gd name="T13" fmla="*/ 57150 h 16"/>
              <a:gd name="T14" fmla="*/ 7178 w 46"/>
              <a:gd name="T15" fmla="*/ 50006 h 16"/>
              <a:gd name="T16" fmla="*/ 4935 w 46"/>
              <a:gd name="T17" fmla="*/ 39291 h 16"/>
              <a:gd name="T18" fmla="*/ 2243 w 46"/>
              <a:gd name="T19" fmla="*/ 21431 h 16"/>
              <a:gd name="T20" fmla="*/ 0 w 46"/>
              <a:gd name="T21" fmla="*/ 0 h 16"/>
              <a:gd name="T22" fmla="*/ 2063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8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15875 w 39"/>
              <a:gd name="T1" fmla="*/ 54952 h 26"/>
              <a:gd name="T2" fmla="*/ 14654 w 39"/>
              <a:gd name="T3" fmla="*/ 57150 h 26"/>
              <a:gd name="T4" fmla="*/ 13026 w 39"/>
              <a:gd name="T5" fmla="*/ 57150 h 26"/>
              <a:gd name="T6" fmla="*/ 11397 w 39"/>
              <a:gd name="T7" fmla="*/ 57150 h 26"/>
              <a:gd name="T8" fmla="*/ 10176 w 39"/>
              <a:gd name="T9" fmla="*/ 54952 h 26"/>
              <a:gd name="T10" fmla="*/ 7327 w 39"/>
              <a:gd name="T11" fmla="*/ 48358 h 26"/>
              <a:gd name="T12" fmla="*/ 4885 w 39"/>
              <a:gd name="T13" fmla="*/ 39565 h 26"/>
              <a:gd name="T14" fmla="*/ 2849 w 39"/>
              <a:gd name="T15" fmla="*/ 28575 h 26"/>
              <a:gd name="T16" fmla="*/ 1221 w 39"/>
              <a:gd name="T17" fmla="*/ 15387 h 26"/>
              <a:gd name="T18" fmla="*/ 407 w 39"/>
              <a:gd name="T19" fmla="*/ 6594 h 26"/>
              <a:gd name="T20" fmla="*/ 0 w 39"/>
              <a:gd name="T21" fmla="*/ 0 h 26"/>
              <a:gd name="T22" fmla="*/ 4478 w 39"/>
              <a:gd name="T23" fmla="*/ 13188 h 26"/>
              <a:gd name="T24" fmla="*/ 8955 w 39"/>
              <a:gd name="T25" fmla="*/ 28575 h 26"/>
              <a:gd name="T26" fmla="*/ 13433 w 39"/>
              <a:gd name="T27" fmla="*/ 43962 h 26"/>
              <a:gd name="T28" fmla="*/ 15875 w 39"/>
              <a:gd name="T29" fmla="*/ 54952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9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4762 w 11"/>
              <a:gd name="T1" fmla="*/ 0 h 25"/>
              <a:gd name="T2" fmla="*/ 4762 w 11"/>
              <a:gd name="T3" fmla="*/ 11748 h 25"/>
              <a:gd name="T4" fmla="*/ 4329 w 11"/>
              <a:gd name="T5" fmla="*/ 28194 h 25"/>
              <a:gd name="T6" fmla="*/ 3896 w 11"/>
              <a:gd name="T7" fmla="*/ 46990 h 25"/>
              <a:gd name="T8" fmla="*/ 1732 w 11"/>
              <a:gd name="T9" fmla="*/ 58738 h 25"/>
              <a:gd name="T10" fmla="*/ 866 w 11"/>
              <a:gd name="T11" fmla="*/ 54039 h 25"/>
              <a:gd name="T12" fmla="*/ 433 w 11"/>
              <a:gd name="T13" fmla="*/ 46990 h 25"/>
              <a:gd name="T14" fmla="*/ 0 w 11"/>
              <a:gd name="T15" fmla="*/ 35243 h 25"/>
              <a:gd name="T16" fmla="*/ 0 w 11"/>
              <a:gd name="T17" fmla="*/ 28194 h 25"/>
              <a:gd name="T18" fmla="*/ 433 w 11"/>
              <a:gd name="T19" fmla="*/ 21146 h 25"/>
              <a:gd name="T20" fmla="*/ 1299 w 11"/>
              <a:gd name="T21" fmla="*/ 11748 h 25"/>
              <a:gd name="T22" fmla="*/ 2597 w 11"/>
              <a:gd name="T23" fmla="*/ 4699 h 25"/>
              <a:gd name="T24" fmla="*/ 4762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0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14288 w 20"/>
              <a:gd name="T1" fmla="*/ 0 h 31"/>
              <a:gd name="T2" fmla="*/ 11430 w 20"/>
              <a:gd name="T3" fmla="*/ 22737 h 31"/>
              <a:gd name="T4" fmla="*/ 7144 w 20"/>
              <a:gd name="T5" fmla="*/ 37895 h 31"/>
              <a:gd name="T6" fmla="*/ 3572 w 20"/>
              <a:gd name="T7" fmla="*/ 49264 h 31"/>
              <a:gd name="T8" fmla="*/ 0 w 20"/>
              <a:gd name="T9" fmla="*/ 58738 h 31"/>
              <a:gd name="T10" fmla="*/ 0 w 20"/>
              <a:gd name="T11" fmla="*/ 47369 h 31"/>
              <a:gd name="T12" fmla="*/ 714 w 20"/>
              <a:gd name="T13" fmla="*/ 36001 h 31"/>
              <a:gd name="T14" fmla="*/ 1429 w 20"/>
              <a:gd name="T15" fmla="*/ 24632 h 31"/>
              <a:gd name="T16" fmla="*/ 3572 w 20"/>
              <a:gd name="T17" fmla="*/ 17053 h 31"/>
              <a:gd name="T18" fmla="*/ 5715 w 20"/>
              <a:gd name="T19" fmla="*/ 11369 h 31"/>
              <a:gd name="T20" fmla="*/ 7858 w 20"/>
              <a:gd name="T21" fmla="*/ 5684 h 31"/>
              <a:gd name="T22" fmla="*/ 11430 w 20"/>
              <a:gd name="T23" fmla="*/ 0 h 31"/>
              <a:gd name="T24" fmla="*/ 14288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1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7938 w 26"/>
              <a:gd name="T1" fmla="*/ 57150 h 37"/>
              <a:gd name="T2" fmla="*/ 0 w 26"/>
              <a:gd name="T3" fmla="*/ 18535 h 37"/>
              <a:gd name="T4" fmla="*/ 3663 w 26"/>
              <a:gd name="T5" fmla="*/ 10812 h 37"/>
              <a:gd name="T6" fmla="*/ 7938 w 26"/>
              <a:gd name="T7" fmla="*/ 6178 h 37"/>
              <a:gd name="T8" fmla="*/ 12822 w 26"/>
              <a:gd name="T9" fmla="*/ 1545 h 37"/>
              <a:gd name="T10" fmla="*/ 15875 w 26"/>
              <a:gd name="T11" fmla="*/ 0 h 37"/>
              <a:gd name="T12" fmla="*/ 15875 w 26"/>
              <a:gd name="T13" fmla="*/ 9268 h 37"/>
              <a:gd name="T14" fmla="*/ 15264 w 26"/>
              <a:gd name="T15" fmla="*/ 16991 h 37"/>
              <a:gd name="T16" fmla="*/ 14654 w 26"/>
              <a:gd name="T17" fmla="*/ 26258 h 37"/>
              <a:gd name="T18" fmla="*/ 14043 w 26"/>
              <a:gd name="T19" fmla="*/ 32436 h 37"/>
              <a:gd name="T20" fmla="*/ 10990 w 26"/>
              <a:gd name="T21" fmla="*/ 44793 h 37"/>
              <a:gd name="T22" fmla="*/ 7938 w 26"/>
              <a:gd name="T23" fmla="*/ 57150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2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60325 h 18"/>
              <a:gd name="T2" fmla="*/ 0 w 7"/>
              <a:gd name="T3" fmla="*/ 0 h 18"/>
              <a:gd name="T4" fmla="*/ 1587 w 7"/>
              <a:gd name="T5" fmla="*/ 40217 h 18"/>
              <a:gd name="T6" fmla="*/ 0 w 7"/>
              <a:gd name="T7" fmla="*/ 60325 h 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3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22123 h 31"/>
              <a:gd name="T2" fmla="*/ 5484 w 33"/>
              <a:gd name="T3" fmla="*/ 0 h 31"/>
              <a:gd name="T4" fmla="*/ 6927 w 33"/>
              <a:gd name="T5" fmla="*/ 9218 h 31"/>
              <a:gd name="T6" fmla="*/ 8082 w 33"/>
              <a:gd name="T7" fmla="*/ 22123 h 31"/>
              <a:gd name="T8" fmla="*/ 9236 w 33"/>
              <a:gd name="T9" fmla="*/ 40558 h 31"/>
              <a:gd name="T10" fmla="*/ 9525 w 33"/>
              <a:gd name="T11" fmla="*/ 57150 h 31"/>
              <a:gd name="T12" fmla="*/ 7793 w 33"/>
              <a:gd name="T13" fmla="*/ 55306 h 31"/>
              <a:gd name="T14" fmla="*/ 6350 w 33"/>
              <a:gd name="T15" fmla="*/ 51619 h 31"/>
              <a:gd name="T16" fmla="*/ 4618 w 33"/>
              <a:gd name="T17" fmla="*/ 46089 h 31"/>
              <a:gd name="T18" fmla="*/ 3175 w 33"/>
              <a:gd name="T19" fmla="*/ 40558 h 31"/>
              <a:gd name="T20" fmla="*/ 866 w 33"/>
              <a:gd name="T21" fmla="*/ 27653 h 31"/>
              <a:gd name="T22" fmla="*/ 0 w 33"/>
              <a:gd name="T23" fmla="*/ 22123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4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3175 w 14"/>
              <a:gd name="T1" fmla="*/ 0 h 6"/>
              <a:gd name="T2" fmla="*/ 0 w 14"/>
              <a:gd name="T3" fmla="*/ 57150 h 6"/>
              <a:gd name="T4" fmla="*/ 3175 w 14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5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25400 w 59"/>
              <a:gd name="T1" fmla="*/ 10754 h 31"/>
              <a:gd name="T2" fmla="*/ 24539 w 59"/>
              <a:gd name="T3" fmla="*/ 19716 h 31"/>
              <a:gd name="T4" fmla="*/ 22817 w 59"/>
              <a:gd name="T5" fmla="*/ 26885 h 31"/>
              <a:gd name="T6" fmla="*/ 21095 w 59"/>
              <a:gd name="T7" fmla="*/ 34055 h 31"/>
              <a:gd name="T8" fmla="*/ 19373 w 59"/>
              <a:gd name="T9" fmla="*/ 43017 h 31"/>
              <a:gd name="T10" fmla="*/ 17220 w 59"/>
              <a:gd name="T11" fmla="*/ 48394 h 31"/>
              <a:gd name="T12" fmla="*/ 15498 w 59"/>
              <a:gd name="T13" fmla="*/ 51978 h 31"/>
              <a:gd name="T14" fmla="*/ 12915 w 59"/>
              <a:gd name="T15" fmla="*/ 55563 h 31"/>
              <a:gd name="T16" fmla="*/ 11193 w 59"/>
              <a:gd name="T17" fmla="*/ 55563 h 31"/>
              <a:gd name="T18" fmla="*/ 9041 w 59"/>
              <a:gd name="T19" fmla="*/ 55563 h 31"/>
              <a:gd name="T20" fmla="*/ 7319 w 59"/>
              <a:gd name="T21" fmla="*/ 53771 h 31"/>
              <a:gd name="T22" fmla="*/ 6027 w 59"/>
              <a:gd name="T23" fmla="*/ 51978 h 31"/>
              <a:gd name="T24" fmla="*/ 4736 w 59"/>
              <a:gd name="T25" fmla="*/ 48394 h 31"/>
              <a:gd name="T26" fmla="*/ 1722 w 59"/>
              <a:gd name="T27" fmla="*/ 35847 h 31"/>
              <a:gd name="T28" fmla="*/ 0 w 59"/>
              <a:gd name="T29" fmla="*/ 21508 h 31"/>
              <a:gd name="T30" fmla="*/ 431 w 59"/>
              <a:gd name="T31" fmla="*/ 16131 h 31"/>
              <a:gd name="T32" fmla="*/ 1292 w 59"/>
              <a:gd name="T33" fmla="*/ 10754 h 31"/>
              <a:gd name="T34" fmla="*/ 2153 w 59"/>
              <a:gd name="T35" fmla="*/ 7169 h 31"/>
              <a:gd name="T36" fmla="*/ 3444 w 59"/>
              <a:gd name="T37" fmla="*/ 5377 h 31"/>
              <a:gd name="T38" fmla="*/ 6888 w 59"/>
              <a:gd name="T39" fmla="*/ 1792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585 h 31"/>
              <a:gd name="T46" fmla="*/ 21956 w 59"/>
              <a:gd name="T47" fmla="*/ 7169 h 31"/>
              <a:gd name="T48" fmla="*/ 25400 w 59"/>
              <a:gd name="T49" fmla="*/ 10754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6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5674 w 47"/>
              <a:gd name="T1" fmla="*/ 0 h 68"/>
              <a:gd name="T2" fmla="*/ 3243 w 47"/>
              <a:gd name="T3" fmla="*/ 8638 h 68"/>
              <a:gd name="T4" fmla="*/ 1621 w 47"/>
              <a:gd name="T5" fmla="*/ 16412 h 68"/>
              <a:gd name="T6" fmla="*/ 811 w 47"/>
              <a:gd name="T7" fmla="*/ 24186 h 68"/>
              <a:gd name="T8" fmla="*/ 0 w 47"/>
              <a:gd name="T9" fmla="*/ 31960 h 68"/>
              <a:gd name="T10" fmla="*/ 0 w 47"/>
              <a:gd name="T11" fmla="*/ 36279 h 68"/>
              <a:gd name="T12" fmla="*/ 811 w 47"/>
              <a:gd name="T13" fmla="*/ 40598 h 68"/>
              <a:gd name="T14" fmla="*/ 1216 w 47"/>
              <a:gd name="T15" fmla="*/ 44053 h 68"/>
              <a:gd name="T16" fmla="*/ 2027 w 47"/>
              <a:gd name="T17" fmla="*/ 47508 h 68"/>
              <a:gd name="T18" fmla="*/ 2837 w 47"/>
              <a:gd name="T19" fmla="*/ 50099 h 68"/>
              <a:gd name="T20" fmla="*/ 3648 w 47"/>
              <a:gd name="T21" fmla="*/ 51827 h 68"/>
              <a:gd name="T22" fmla="*/ 5269 w 47"/>
              <a:gd name="T23" fmla="*/ 53554 h 68"/>
              <a:gd name="T24" fmla="*/ 6485 w 47"/>
              <a:gd name="T25" fmla="*/ 55282 h 68"/>
              <a:gd name="T26" fmla="*/ 8917 w 47"/>
              <a:gd name="T27" fmla="*/ 57873 h 68"/>
              <a:gd name="T28" fmla="*/ 12565 w 47"/>
              <a:gd name="T29" fmla="*/ 58737 h 68"/>
              <a:gd name="T30" fmla="*/ 15807 w 47"/>
              <a:gd name="T31" fmla="*/ 58737 h 68"/>
              <a:gd name="T32" fmla="*/ 19050 w 47"/>
              <a:gd name="T33" fmla="*/ 58737 h 68"/>
              <a:gd name="T34" fmla="*/ 16618 w 47"/>
              <a:gd name="T35" fmla="*/ 50099 h 68"/>
              <a:gd name="T36" fmla="*/ 15402 w 47"/>
              <a:gd name="T37" fmla="*/ 41461 h 68"/>
              <a:gd name="T38" fmla="*/ 14591 w 47"/>
              <a:gd name="T39" fmla="*/ 37143 h 68"/>
              <a:gd name="T40" fmla="*/ 14186 w 47"/>
              <a:gd name="T41" fmla="*/ 32824 h 68"/>
              <a:gd name="T42" fmla="*/ 13376 w 47"/>
              <a:gd name="T43" fmla="*/ 26777 h 68"/>
              <a:gd name="T44" fmla="*/ 13376 w 47"/>
              <a:gd name="T45" fmla="*/ 21594 h 68"/>
              <a:gd name="T46" fmla="*/ 9728 w 47"/>
              <a:gd name="T47" fmla="*/ 11229 h 68"/>
              <a:gd name="T48" fmla="*/ 5674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37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2541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2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3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4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5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46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7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8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49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0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1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52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3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4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5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6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7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8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9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0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1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2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3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4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5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6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7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8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9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0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1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38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2532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3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4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5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20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6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7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8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9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0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39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11113 w 27"/>
              <a:gd name="T1" fmla="*/ 0 h 19"/>
              <a:gd name="T2" fmla="*/ 11113 w 27"/>
              <a:gd name="T3" fmla="*/ 35092 h 19"/>
              <a:gd name="T4" fmla="*/ 11113 w 27"/>
              <a:gd name="T5" fmla="*/ 55562 h 19"/>
              <a:gd name="T6" fmla="*/ 3704 w 27"/>
              <a:gd name="T7" fmla="*/ 55562 h 19"/>
              <a:gd name="T8" fmla="*/ 0 w 27"/>
              <a:gd name="T9" fmla="*/ 55562 h 19"/>
              <a:gd name="T10" fmla="*/ 3704 w 27"/>
              <a:gd name="T11" fmla="*/ 35092 h 19"/>
              <a:gd name="T12" fmla="*/ 11113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0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14288 w 39"/>
              <a:gd name="T3" fmla="*/ 0 h 35"/>
              <a:gd name="T4" fmla="*/ 13189 w 39"/>
              <a:gd name="T5" fmla="*/ 14696 h 35"/>
              <a:gd name="T6" fmla="*/ 12090 w 39"/>
              <a:gd name="T7" fmla="*/ 31024 h 35"/>
              <a:gd name="T8" fmla="*/ 9892 w 39"/>
              <a:gd name="T9" fmla="*/ 45720 h 35"/>
              <a:gd name="T10" fmla="*/ 8060 w 39"/>
              <a:gd name="T11" fmla="*/ 55517 h 35"/>
              <a:gd name="T12" fmla="*/ 6961 w 39"/>
              <a:gd name="T13" fmla="*/ 57150 h 35"/>
              <a:gd name="T14" fmla="*/ 5862 w 39"/>
              <a:gd name="T15" fmla="*/ 57150 h 35"/>
              <a:gd name="T16" fmla="*/ 4763 w 39"/>
              <a:gd name="T17" fmla="*/ 55517 h 35"/>
              <a:gd name="T18" fmla="*/ 4030 w 39"/>
              <a:gd name="T19" fmla="*/ 50619 h 35"/>
              <a:gd name="T20" fmla="*/ 2565 w 39"/>
              <a:gd name="T21" fmla="*/ 42454 h 35"/>
              <a:gd name="T22" fmla="*/ 1832 w 39"/>
              <a:gd name="T23" fmla="*/ 32657 h 35"/>
              <a:gd name="T24" fmla="*/ 733 w 39"/>
              <a:gd name="T25" fmla="*/ 17961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1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13813 w 1688"/>
              <a:gd name="T1" fmla="*/ 113756 h 630"/>
              <a:gd name="T2" fmla="*/ 37124 w 1688"/>
              <a:gd name="T3" fmla="*/ 131135 h 630"/>
              <a:gd name="T4" fmla="*/ 66909 w 1688"/>
              <a:gd name="T5" fmla="*/ 139035 h 630"/>
              <a:gd name="T6" fmla="*/ 82449 w 1688"/>
              <a:gd name="T7" fmla="*/ 147988 h 630"/>
              <a:gd name="T8" fmla="*/ 102738 w 1688"/>
              <a:gd name="T9" fmla="*/ 174320 h 630"/>
              <a:gd name="T10" fmla="*/ 109213 w 1688"/>
              <a:gd name="T11" fmla="*/ 183799 h 630"/>
              <a:gd name="T12" fmla="*/ 109645 w 1688"/>
              <a:gd name="T13" fmla="*/ 203285 h 630"/>
              <a:gd name="T14" fmla="*/ 117846 w 1688"/>
              <a:gd name="T15" fmla="*/ 214872 h 630"/>
              <a:gd name="T16" fmla="*/ 147200 w 1688"/>
              <a:gd name="T17" fmla="*/ 219085 h 630"/>
              <a:gd name="T18" fmla="*/ 199864 w 1688"/>
              <a:gd name="T19" fmla="*/ 238044 h 630"/>
              <a:gd name="T20" fmla="*/ 235693 w 1688"/>
              <a:gd name="T21" fmla="*/ 246997 h 630"/>
              <a:gd name="T22" fmla="*/ 248211 w 1688"/>
              <a:gd name="T23" fmla="*/ 268589 h 630"/>
              <a:gd name="T24" fmla="*/ 268500 w 1688"/>
              <a:gd name="T25" fmla="*/ 285442 h 630"/>
              <a:gd name="T26" fmla="*/ 289220 w 1688"/>
              <a:gd name="T27" fmla="*/ 292289 h 630"/>
              <a:gd name="T28" fmla="*/ 395843 w 1688"/>
              <a:gd name="T29" fmla="*/ 303348 h 630"/>
              <a:gd name="T30" fmla="*/ 447644 w 1688"/>
              <a:gd name="T31" fmla="*/ 323361 h 630"/>
              <a:gd name="T32" fmla="*/ 482177 w 1688"/>
              <a:gd name="T33" fmla="*/ 331787 h 630"/>
              <a:gd name="T34" fmla="*/ 499444 w 1688"/>
              <a:gd name="T35" fmla="*/ 322834 h 630"/>
              <a:gd name="T36" fmla="*/ 580167 w 1688"/>
              <a:gd name="T37" fmla="*/ 297028 h 630"/>
              <a:gd name="T38" fmla="*/ 602182 w 1688"/>
              <a:gd name="T39" fmla="*/ 268589 h 630"/>
              <a:gd name="T40" fmla="*/ 605636 w 1688"/>
              <a:gd name="T41" fmla="*/ 254370 h 630"/>
              <a:gd name="T42" fmla="*/ 598297 w 1688"/>
              <a:gd name="T43" fmla="*/ 239624 h 630"/>
              <a:gd name="T44" fmla="*/ 591390 w 1688"/>
              <a:gd name="T45" fmla="*/ 218558 h 630"/>
              <a:gd name="T46" fmla="*/ 647076 w 1688"/>
              <a:gd name="T47" fmla="*/ 207499 h 630"/>
              <a:gd name="T48" fmla="*/ 688085 w 1688"/>
              <a:gd name="T49" fmla="*/ 180640 h 630"/>
              <a:gd name="T50" fmla="*/ 712690 w 1688"/>
              <a:gd name="T51" fmla="*/ 171160 h 630"/>
              <a:gd name="T52" fmla="*/ 728662 w 1688"/>
              <a:gd name="T53" fmla="*/ 156414 h 630"/>
              <a:gd name="T54" fmla="*/ 714849 w 1688"/>
              <a:gd name="T55" fmla="*/ 146934 h 630"/>
              <a:gd name="T56" fmla="*/ 698877 w 1688"/>
              <a:gd name="T57" fmla="*/ 132715 h 630"/>
              <a:gd name="T58" fmla="*/ 683336 w 1688"/>
              <a:gd name="T59" fmla="*/ 130608 h 630"/>
              <a:gd name="T60" fmla="*/ 670386 w 1688"/>
              <a:gd name="T61" fmla="*/ 135875 h 630"/>
              <a:gd name="T62" fmla="*/ 646213 w 1688"/>
              <a:gd name="T63" fmla="*/ 134821 h 630"/>
              <a:gd name="T64" fmla="*/ 628946 w 1688"/>
              <a:gd name="T65" fmla="*/ 123762 h 630"/>
              <a:gd name="T66" fmla="*/ 619017 w 1688"/>
              <a:gd name="T67" fmla="*/ 98483 h 630"/>
              <a:gd name="T68" fmla="*/ 590095 w 1688"/>
              <a:gd name="T69" fmla="*/ 65304 h 630"/>
              <a:gd name="T70" fmla="*/ 555130 w 1688"/>
              <a:gd name="T71" fmla="*/ 63198 h 630"/>
              <a:gd name="T72" fmla="*/ 543906 w 1688"/>
              <a:gd name="T73" fmla="*/ 77417 h 630"/>
              <a:gd name="T74" fmla="*/ 533546 w 1688"/>
              <a:gd name="T75" fmla="*/ 86897 h 630"/>
              <a:gd name="T76" fmla="*/ 504193 w 1688"/>
              <a:gd name="T77" fmla="*/ 87950 h 630"/>
              <a:gd name="T78" fmla="*/ 450665 w 1688"/>
              <a:gd name="T79" fmla="*/ 87950 h 630"/>
              <a:gd name="T80" fmla="*/ 425628 w 1688"/>
              <a:gd name="T81" fmla="*/ 73730 h 630"/>
              <a:gd name="T82" fmla="*/ 398001 w 1688"/>
              <a:gd name="T83" fmla="*/ 56878 h 630"/>
              <a:gd name="T84" fmla="*/ 367784 w 1688"/>
              <a:gd name="T85" fmla="*/ 52665 h 630"/>
              <a:gd name="T86" fmla="*/ 345769 w 1688"/>
              <a:gd name="T87" fmla="*/ 60038 h 630"/>
              <a:gd name="T88" fmla="*/ 319437 w 1688"/>
              <a:gd name="T89" fmla="*/ 61091 h 630"/>
              <a:gd name="T90" fmla="*/ 298717 w 1688"/>
              <a:gd name="T91" fmla="*/ 53191 h 630"/>
              <a:gd name="T92" fmla="*/ 285767 w 1688"/>
              <a:gd name="T93" fmla="*/ 35812 h 630"/>
              <a:gd name="T94" fmla="*/ 192526 w 1688"/>
              <a:gd name="T95" fmla="*/ 3687 h 630"/>
              <a:gd name="T96" fmla="*/ 192526 w 1688"/>
              <a:gd name="T97" fmla="*/ 23172 h 630"/>
              <a:gd name="T98" fmla="*/ 203317 w 1688"/>
              <a:gd name="T99" fmla="*/ 41605 h 630"/>
              <a:gd name="T100" fmla="*/ 211519 w 1688"/>
              <a:gd name="T101" fmla="*/ 55824 h 630"/>
              <a:gd name="T102" fmla="*/ 132523 w 1688"/>
              <a:gd name="T103" fmla="*/ 64251 h 630"/>
              <a:gd name="T104" fmla="*/ 126912 w 1688"/>
              <a:gd name="T105" fmla="*/ 45818 h 630"/>
              <a:gd name="T106" fmla="*/ 97126 w 1688"/>
              <a:gd name="T107" fmla="*/ 51085 h 630"/>
              <a:gd name="T108" fmla="*/ 79859 w 1688"/>
              <a:gd name="T109" fmla="*/ 46345 h 630"/>
              <a:gd name="T110" fmla="*/ 59571 w 1688"/>
              <a:gd name="T111" fmla="*/ 51085 h 630"/>
              <a:gd name="T112" fmla="*/ 29354 w 1688"/>
              <a:gd name="T113" fmla="*/ 75310 h 630"/>
              <a:gd name="T114" fmla="*/ 13382 w 1688"/>
              <a:gd name="T115" fmla="*/ 79524 h 630"/>
              <a:gd name="T116" fmla="*/ 1727 w 1688"/>
              <a:gd name="T117" fmla="*/ 89003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2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11272 w 758"/>
              <a:gd name="T1" fmla="*/ 41854 h 795"/>
              <a:gd name="T2" fmla="*/ 21243 w 758"/>
              <a:gd name="T3" fmla="*/ 46039 h 795"/>
              <a:gd name="T4" fmla="*/ 31214 w 758"/>
              <a:gd name="T5" fmla="*/ 56503 h 795"/>
              <a:gd name="T6" fmla="*/ 38150 w 758"/>
              <a:gd name="T7" fmla="*/ 70106 h 795"/>
              <a:gd name="T8" fmla="*/ 40318 w 758"/>
              <a:gd name="T9" fmla="*/ 88417 h 795"/>
              <a:gd name="T10" fmla="*/ 36416 w 758"/>
              <a:gd name="T11" fmla="*/ 97311 h 795"/>
              <a:gd name="T12" fmla="*/ 35116 w 758"/>
              <a:gd name="T13" fmla="*/ 107251 h 795"/>
              <a:gd name="T14" fmla="*/ 38150 w 758"/>
              <a:gd name="T15" fmla="*/ 125562 h 795"/>
              <a:gd name="T16" fmla="*/ 41185 w 758"/>
              <a:gd name="T17" fmla="*/ 145443 h 795"/>
              <a:gd name="T18" fmla="*/ 35983 w 758"/>
              <a:gd name="T19" fmla="*/ 161138 h 795"/>
              <a:gd name="T20" fmla="*/ 35116 w 758"/>
              <a:gd name="T21" fmla="*/ 184158 h 795"/>
              <a:gd name="T22" fmla="*/ 40318 w 758"/>
              <a:gd name="T23" fmla="*/ 204039 h 795"/>
              <a:gd name="T24" fmla="*/ 42919 w 758"/>
              <a:gd name="T25" fmla="*/ 217118 h 795"/>
              <a:gd name="T26" fmla="*/ 33815 w 758"/>
              <a:gd name="T27" fmla="*/ 239091 h 795"/>
              <a:gd name="T28" fmla="*/ 48988 w 758"/>
              <a:gd name="T29" fmla="*/ 276760 h 795"/>
              <a:gd name="T30" fmla="*/ 59826 w 758"/>
              <a:gd name="T31" fmla="*/ 301873 h 795"/>
              <a:gd name="T32" fmla="*/ 63295 w 758"/>
              <a:gd name="T33" fmla="*/ 325416 h 795"/>
              <a:gd name="T34" fmla="*/ 65896 w 758"/>
              <a:gd name="T35" fmla="*/ 344773 h 795"/>
              <a:gd name="T36" fmla="*/ 81069 w 758"/>
              <a:gd name="T37" fmla="*/ 386104 h 795"/>
              <a:gd name="T38" fmla="*/ 92774 w 758"/>
              <a:gd name="T39" fmla="*/ 409124 h 795"/>
              <a:gd name="T40" fmla="*/ 99711 w 758"/>
              <a:gd name="T41" fmla="*/ 415402 h 795"/>
              <a:gd name="T42" fmla="*/ 108815 w 758"/>
              <a:gd name="T43" fmla="*/ 413309 h 795"/>
              <a:gd name="T44" fmla="*/ 125289 w 758"/>
              <a:gd name="T45" fmla="*/ 398137 h 795"/>
              <a:gd name="T46" fmla="*/ 140462 w 758"/>
              <a:gd name="T47" fmla="*/ 390289 h 795"/>
              <a:gd name="T48" fmla="*/ 153901 w 758"/>
              <a:gd name="T49" fmla="*/ 391336 h 795"/>
              <a:gd name="T50" fmla="*/ 168208 w 758"/>
              <a:gd name="T51" fmla="*/ 402846 h 795"/>
              <a:gd name="T52" fmla="*/ 181213 w 758"/>
              <a:gd name="T53" fmla="*/ 408077 h 795"/>
              <a:gd name="T54" fmla="*/ 189450 w 758"/>
              <a:gd name="T55" fmla="*/ 396567 h 795"/>
              <a:gd name="T56" fmla="*/ 207225 w 758"/>
              <a:gd name="T57" fmla="*/ 389766 h 795"/>
              <a:gd name="T58" fmla="*/ 227601 w 758"/>
              <a:gd name="T59" fmla="*/ 325416 h 795"/>
              <a:gd name="T60" fmla="*/ 233670 w 758"/>
              <a:gd name="T61" fmla="*/ 313906 h 795"/>
              <a:gd name="T62" fmla="*/ 249277 w 758"/>
              <a:gd name="T63" fmla="*/ 305535 h 795"/>
              <a:gd name="T64" fmla="*/ 288294 w 758"/>
              <a:gd name="T65" fmla="*/ 299780 h 795"/>
              <a:gd name="T66" fmla="*/ 297832 w 758"/>
              <a:gd name="T67" fmla="*/ 302919 h 795"/>
              <a:gd name="T68" fmla="*/ 305202 w 758"/>
              <a:gd name="T69" fmla="*/ 306058 h 795"/>
              <a:gd name="T70" fmla="*/ 322543 w 758"/>
              <a:gd name="T71" fmla="*/ 299780 h 795"/>
              <a:gd name="T72" fmla="*/ 328178 w 758"/>
              <a:gd name="T73" fmla="*/ 283038 h 795"/>
              <a:gd name="T74" fmla="*/ 326011 w 758"/>
              <a:gd name="T75" fmla="*/ 261065 h 795"/>
              <a:gd name="T76" fmla="*/ 314739 w 758"/>
              <a:gd name="T77" fmla="*/ 241707 h 795"/>
              <a:gd name="T78" fmla="*/ 307803 w 758"/>
              <a:gd name="T79" fmla="*/ 227582 h 795"/>
              <a:gd name="T80" fmla="*/ 290895 w 758"/>
              <a:gd name="T81" fmla="*/ 209794 h 795"/>
              <a:gd name="T82" fmla="*/ 274421 w 758"/>
              <a:gd name="T83" fmla="*/ 208747 h 795"/>
              <a:gd name="T84" fmla="*/ 262283 w 758"/>
              <a:gd name="T85" fmla="*/ 197761 h 795"/>
              <a:gd name="T86" fmla="*/ 255780 w 758"/>
              <a:gd name="T87" fmla="*/ 182588 h 795"/>
              <a:gd name="T88" fmla="*/ 253612 w 758"/>
              <a:gd name="T89" fmla="*/ 162708 h 795"/>
              <a:gd name="T90" fmla="*/ 252745 w 758"/>
              <a:gd name="T91" fmla="*/ 140734 h 795"/>
              <a:gd name="T92" fmla="*/ 242774 w 758"/>
              <a:gd name="T93" fmla="*/ 126609 h 795"/>
              <a:gd name="T94" fmla="*/ 218063 w 758"/>
              <a:gd name="T95" fmla="*/ 107251 h 795"/>
              <a:gd name="T96" fmla="*/ 190751 w 758"/>
              <a:gd name="T97" fmla="*/ 93125 h 795"/>
              <a:gd name="T98" fmla="*/ 169942 w 758"/>
              <a:gd name="T99" fmla="*/ 87370 h 795"/>
              <a:gd name="T100" fmla="*/ 155635 w 758"/>
              <a:gd name="T101" fmla="*/ 84231 h 795"/>
              <a:gd name="T102" fmla="*/ 143063 w 758"/>
              <a:gd name="T103" fmla="*/ 75861 h 795"/>
              <a:gd name="T104" fmla="*/ 133092 w 758"/>
              <a:gd name="T105" fmla="*/ 63827 h 795"/>
              <a:gd name="T106" fmla="*/ 126589 w 758"/>
              <a:gd name="T107" fmla="*/ 48132 h 795"/>
              <a:gd name="T108" fmla="*/ 120953 w 758"/>
              <a:gd name="T109" fmla="*/ 9940 h 795"/>
              <a:gd name="T110" fmla="*/ 113150 w 758"/>
              <a:gd name="T111" fmla="*/ 1570 h 795"/>
              <a:gd name="T112" fmla="*/ 98410 w 758"/>
              <a:gd name="T113" fmla="*/ 1570 h 795"/>
              <a:gd name="T114" fmla="*/ 75000 w 758"/>
              <a:gd name="T115" fmla="*/ 15695 h 795"/>
              <a:gd name="T116" fmla="*/ 51589 w 758"/>
              <a:gd name="T117" fmla="*/ 34530 h 795"/>
              <a:gd name="T118" fmla="*/ 0 w 758"/>
              <a:gd name="T119" fmla="*/ 41854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43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98129 w 273"/>
              <a:gd name="T1" fmla="*/ 73010 h 414"/>
              <a:gd name="T2" fmla="*/ 92895 w 273"/>
              <a:gd name="T3" fmla="*/ 69359 h 414"/>
              <a:gd name="T4" fmla="*/ 87662 w 273"/>
              <a:gd name="T5" fmla="*/ 63101 h 414"/>
              <a:gd name="T6" fmla="*/ 82864 w 273"/>
              <a:gd name="T7" fmla="*/ 54757 h 414"/>
              <a:gd name="T8" fmla="*/ 79811 w 273"/>
              <a:gd name="T9" fmla="*/ 50064 h 414"/>
              <a:gd name="T10" fmla="*/ 76759 w 273"/>
              <a:gd name="T11" fmla="*/ 48499 h 414"/>
              <a:gd name="T12" fmla="*/ 72833 w 273"/>
              <a:gd name="T13" fmla="*/ 49021 h 414"/>
              <a:gd name="T14" fmla="*/ 70217 w 273"/>
              <a:gd name="T15" fmla="*/ 52671 h 414"/>
              <a:gd name="T16" fmla="*/ 66728 w 273"/>
              <a:gd name="T17" fmla="*/ 44849 h 414"/>
              <a:gd name="T18" fmla="*/ 61930 w 273"/>
              <a:gd name="T19" fmla="*/ 28161 h 414"/>
              <a:gd name="T20" fmla="*/ 57569 w 273"/>
              <a:gd name="T21" fmla="*/ 18774 h 414"/>
              <a:gd name="T22" fmla="*/ 53644 w 273"/>
              <a:gd name="T23" fmla="*/ 13037 h 414"/>
              <a:gd name="T24" fmla="*/ 48410 w 273"/>
              <a:gd name="T25" fmla="*/ 7301 h 414"/>
              <a:gd name="T26" fmla="*/ 41868 w 273"/>
              <a:gd name="T27" fmla="*/ 2607 h 414"/>
              <a:gd name="T28" fmla="*/ 34890 w 273"/>
              <a:gd name="T29" fmla="*/ 3650 h 414"/>
              <a:gd name="T30" fmla="*/ 30093 w 273"/>
              <a:gd name="T31" fmla="*/ 9908 h 414"/>
              <a:gd name="T32" fmla="*/ 27476 w 273"/>
              <a:gd name="T33" fmla="*/ 13037 h 414"/>
              <a:gd name="T34" fmla="*/ 24859 w 273"/>
              <a:gd name="T35" fmla="*/ 16688 h 414"/>
              <a:gd name="T36" fmla="*/ 24423 w 273"/>
              <a:gd name="T37" fmla="*/ 21903 h 414"/>
              <a:gd name="T38" fmla="*/ 25295 w 273"/>
              <a:gd name="T39" fmla="*/ 30768 h 414"/>
              <a:gd name="T40" fmla="*/ 22679 w 273"/>
              <a:gd name="T41" fmla="*/ 40677 h 414"/>
              <a:gd name="T42" fmla="*/ 14392 w 273"/>
              <a:gd name="T43" fmla="*/ 46935 h 414"/>
              <a:gd name="T44" fmla="*/ 7414 w 273"/>
              <a:gd name="T45" fmla="*/ 54236 h 414"/>
              <a:gd name="T46" fmla="*/ 1745 w 273"/>
              <a:gd name="T47" fmla="*/ 61537 h 414"/>
              <a:gd name="T48" fmla="*/ 17445 w 273"/>
              <a:gd name="T49" fmla="*/ 103257 h 414"/>
              <a:gd name="T50" fmla="*/ 31837 w 273"/>
              <a:gd name="T51" fmla="*/ 106907 h 414"/>
              <a:gd name="T52" fmla="*/ 36635 w 273"/>
              <a:gd name="T53" fmla="*/ 109514 h 414"/>
              <a:gd name="T54" fmla="*/ 40560 w 273"/>
              <a:gd name="T55" fmla="*/ 113686 h 414"/>
              <a:gd name="T56" fmla="*/ 43177 w 273"/>
              <a:gd name="T57" fmla="*/ 117858 h 414"/>
              <a:gd name="T58" fmla="*/ 44921 w 273"/>
              <a:gd name="T59" fmla="*/ 123595 h 414"/>
              <a:gd name="T60" fmla="*/ 46230 w 273"/>
              <a:gd name="T61" fmla="*/ 138197 h 414"/>
              <a:gd name="T62" fmla="*/ 44921 w 273"/>
              <a:gd name="T63" fmla="*/ 145498 h 414"/>
              <a:gd name="T64" fmla="*/ 41868 w 273"/>
              <a:gd name="T65" fmla="*/ 152799 h 414"/>
              <a:gd name="T66" fmla="*/ 38815 w 273"/>
              <a:gd name="T67" fmla="*/ 160100 h 414"/>
              <a:gd name="T68" fmla="*/ 37507 w 273"/>
              <a:gd name="T69" fmla="*/ 167401 h 414"/>
              <a:gd name="T70" fmla="*/ 39688 w 273"/>
              <a:gd name="T71" fmla="*/ 178874 h 414"/>
              <a:gd name="T72" fmla="*/ 46666 w 273"/>
              <a:gd name="T73" fmla="*/ 195040 h 414"/>
              <a:gd name="T74" fmla="*/ 51027 w 273"/>
              <a:gd name="T75" fmla="*/ 202863 h 414"/>
              <a:gd name="T76" fmla="*/ 56261 w 273"/>
              <a:gd name="T77" fmla="*/ 209121 h 414"/>
              <a:gd name="T78" fmla="*/ 61494 w 273"/>
              <a:gd name="T79" fmla="*/ 214336 h 414"/>
              <a:gd name="T80" fmla="*/ 66728 w 273"/>
              <a:gd name="T81" fmla="*/ 215900 h 414"/>
              <a:gd name="T82" fmla="*/ 93768 w 273"/>
              <a:gd name="T83" fmla="*/ 207556 h 414"/>
              <a:gd name="T84" fmla="*/ 111213 w 273"/>
              <a:gd name="T85" fmla="*/ 200777 h 414"/>
              <a:gd name="T86" fmla="*/ 116446 w 273"/>
              <a:gd name="T87" fmla="*/ 196605 h 414"/>
              <a:gd name="T88" fmla="*/ 119063 w 273"/>
              <a:gd name="T89" fmla="*/ 192954 h 414"/>
              <a:gd name="T90" fmla="*/ 117318 w 273"/>
              <a:gd name="T91" fmla="*/ 183567 h 414"/>
              <a:gd name="T92" fmla="*/ 114702 w 273"/>
              <a:gd name="T93" fmla="*/ 174702 h 414"/>
              <a:gd name="T94" fmla="*/ 105543 w 273"/>
              <a:gd name="T95" fmla="*/ 161143 h 414"/>
              <a:gd name="T96" fmla="*/ 96820 w 273"/>
              <a:gd name="T97" fmla="*/ 147062 h 414"/>
              <a:gd name="T98" fmla="*/ 93768 w 273"/>
              <a:gd name="T99" fmla="*/ 138718 h 414"/>
              <a:gd name="T100" fmla="*/ 92459 w 273"/>
              <a:gd name="T101" fmla="*/ 128810 h 414"/>
              <a:gd name="T102" fmla="*/ 93768 w 273"/>
              <a:gd name="T103" fmla="*/ 112122 h 414"/>
              <a:gd name="T104" fmla="*/ 96820 w 273"/>
              <a:gd name="T105" fmla="*/ 99085 h 414"/>
              <a:gd name="T106" fmla="*/ 100309 w 273"/>
              <a:gd name="T107" fmla="*/ 87090 h 414"/>
              <a:gd name="T108" fmla="*/ 101182 w 273"/>
              <a:gd name="T109" fmla="*/ 74053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144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</p:grpSpPr>
        <p:sp>
          <p:nvSpPr>
            <p:cNvPr id="2528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9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0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31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45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11112 h 23"/>
              <a:gd name="T2" fmla="*/ 8842 w 79"/>
              <a:gd name="T3" fmla="*/ 6281 h 23"/>
              <a:gd name="T4" fmla="*/ 18085 w 79"/>
              <a:gd name="T5" fmla="*/ 1933 h 23"/>
              <a:gd name="T6" fmla="*/ 22506 w 79"/>
              <a:gd name="T7" fmla="*/ 483 h 23"/>
              <a:gd name="T8" fmla="*/ 26123 w 79"/>
              <a:gd name="T9" fmla="*/ 0 h 23"/>
              <a:gd name="T10" fmla="*/ 27731 w 79"/>
              <a:gd name="T11" fmla="*/ 0 h 23"/>
              <a:gd name="T12" fmla="*/ 29741 w 79"/>
              <a:gd name="T13" fmla="*/ 483 h 23"/>
              <a:gd name="T14" fmla="*/ 30946 w 79"/>
              <a:gd name="T15" fmla="*/ 966 h 23"/>
              <a:gd name="T16" fmla="*/ 31750 w 79"/>
              <a:gd name="T17" fmla="*/ 1933 h 23"/>
              <a:gd name="T18" fmla="*/ 30946 w 79"/>
              <a:gd name="T19" fmla="*/ 3865 h 23"/>
              <a:gd name="T20" fmla="*/ 30142 w 79"/>
              <a:gd name="T21" fmla="*/ 6281 h 23"/>
              <a:gd name="T22" fmla="*/ 28937 w 79"/>
              <a:gd name="T23" fmla="*/ 7730 h 23"/>
              <a:gd name="T24" fmla="*/ 27329 w 79"/>
              <a:gd name="T25" fmla="*/ 9179 h 23"/>
              <a:gd name="T26" fmla="*/ 25722 w 79"/>
              <a:gd name="T27" fmla="*/ 10146 h 23"/>
              <a:gd name="T28" fmla="*/ 23712 w 79"/>
              <a:gd name="T29" fmla="*/ 10629 h 23"/>
              <a:gd name="T30" fmla="*/ 21301 w 79"/>
              <a:gd name="T31" fmla="*/ 11112 h 23"/>
              <a:gd name="T32" fmla="*/ 18487 w 79"/>
              <a:gd name="T33" fmla="*/ 11112 h 23"/>
              <a:gd name="T34" fmla="*/ 14870 w 79"/>
              <a:gd name="T35" fmla="*/ 11112 h 23"/>
              <a:gd name="T36" fmla="*/ 12861 w 79"/>
              <a:gd name="T37" fmla="*/ 10146 h 23"/>
              <a:gd name="T38" fmla="*/ 10449 w 79"/>
              <a:gd name="T39" fmla="*/ 9663 h 23"/>
              <a:gd name="T40" fmla="*/ 9244 w 79"/>
              <a:gd name="T41" fmla="*/ 9179 h 23"/>
              <a:gd name="T42" fmla="*/ 7636 w 79"/>
              <a:gd name="T43" fmla="*/ 8696 h 23"/>
              <a:gd name="T44" fmla="*/ 5627 w 79"/>
              <a:gd name="T45" fmla="*/ 8696 h 23"/>
              <a:gd name="T46" fmla="*/ 3617 w 79"/>
              <a:gd name="T47" fmla="*/ 9663 h 23"/>
              <a:gd name="T48" fmla="*/ 0 w 79"/>
              <a:gd name="T49" fmla="*/ 11112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6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4762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7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48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1270 w 5"/>
              <a:gd name="T3" fmla="*/ 529 h 30"/>
              <a:gd name="T4" fmla="*/ 2540 w 5"/>
              <a:gd name="T5" fmla="*/ 2117 h 30"/>
              <a:gd name="T6" fmla="*/ 3175 w 5"/>
              <a:gd name="T7" fmla="*/ 4233 h 30"/>
              <a:gd name="T8" fmla="*/ 3175 w 5"/>
              <a:gd name="T9" fmla="*/ 6879 h 30"/>
              <a:gd name="T10" fmla="*/ 3175 w 5"/>
              <a:gd name="T11" fmla="*/ 9525 h 30"/>
              <a:gd name="T12" fmla="*/ 2540 w 5"/>
              <a:gd name="T13" fmla="*/ 12171 h 30"/>
              <a:gd name="T14" fmla="*/ 1270 w 5"/>
              <a:gd name="T15" fmla="*/ 14287 h 30"/>
              <a:gd name="T16" fmla="*/ 0 w 5"/>
              <a:gd name="T17" fmla="*/ 15875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9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6235 h 55"/>
              <a:gd name="T2" fmla="*/ 419 w 53"/>
              <a:gd name="T3" fmla="*/ 8832 h 55"/>
              <a:gd name="T4" fmla="*/ 2097 w 53"/>
              <a:gd name="T5" fmla="*/ 11430 h 55"/>
              <a:gd name="T6" fmla="*/ 3774 w 53"/>
              <a:gd name="T7" fmla="*/ 14028 h 55"/>
              <a:gd name="T8" fmla="*/ 6290 w 53"/>
              <a:gd name="T9" fmla="*/ 17145 h 55"/>
              <a:gd name="T10" fmla="*/ 10903 w 53"/>
              <a:gd name="T11" fmla="*/ 22860 h 55"/>
              <a:gd name="T12" fmla="*/ 13838 w 53"/>
              <a:gd name="T13" fmla="*/ 28575 h 55"/>
              <a:gd name="T14" fmla="*/ 22225 w 53"/>
              <a:gd name="T15" fmla="*/ 28575 h 55"/>
              <a:gd name="T16" fmla="*/ 16774 w 53"/>
              <a:gd name="T17" fmla="*/ 21301 h 55"/>
              <a:gd name="T18" fmla="*/ 11742 w 53"/>
              <a:gd name="T19" fmla="*/ 15067 h 55"/>
              <a:gd name="T20" fmla="*/ 9645 w 53"/>
              <a:gd name="T21" fmla="*/ 11950 h 55"/>
              <a:gd name="T22" fmla="*/ 7967 w 53"/>
              <a:gd name="T23" fmla="*/ 8313 h 55"/>
              <a:gd name="T24" fmla="*/ 6709 w 53"/>
              <a:gd name="T25" fmla="*/ 4156 h 55"/>
              <a:gd name="T26" fmla="*/ 5871 w 53"/>
              <a:gd name="T27" fmla="*/ 0 h 55"/>
              <a:gd name="T28" fmla="*/ 2935 w 53"/>
              <a:gd name="T29" fmla="*/ 3117 h 55"/>
              <a:gd name="T30" fmla="*/ 0 w 53"/>
              <a:gd name="T31" fmla="*/ 6235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0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16934 h 75"/>
              <a:gd name="T2" fmla="*/ 3737 w 65"/>
              <a:gd name="T3" fmla="*/ 22754 h 75"/>
              <a:gd name="T4" fmla="*/ 8304 w 65"/>
              <a:gd name="T5" fmla="*/ 29105 h 75"/>
              <a:gd name="T6" fmla="*/ 10795 w 65"/>
              <a:gd name="T7" fmla="*/ 32280 h 75"/>
              <a:gd name="T8" fmla="*/ 13286 w 65"/>
              <a:gd name="T9" fmla="*/ 35455 h 75"/>
              <a:gd name="T10" fmla="*/ 16192 w 65"/>
              <a:gd name="T11" fmla="*/ 37571 h 75"/>
              <a:gd name="T12" fmla="*/ 19098 w 65"/>
              <a:gd name="T13" fmla="*/ 39688 h 75"/>
              <a:gd name="T14" fmla="*/ 21174 w 65"/>
              <a:gd name="T15" fmla="*/ 32280 h 75"/>
              <a:gd name="T16" fmla="*/ 24081 w 65"/>
              <a:gd name="T17" fmla="*/ 25400 h 75"/>
              <a:gd name="T18" fmla="*/ 25326 w 65"/>
              <a:gd name="T19" fmla="*/ 22225 h 75"/>
              <a:gd name="T20" fmla="*/ 26157 w 65"/>
              <a:gd name="T21" fmla="*/ 19050 h 75"/>
              <a:gd name="T22" fmla="*/ 26987 w 65"/>
              <a:gd name="T23" fmla="*/ 16404 h 75"/>
              <a:gd name="T24" fmla="*/ 26987 w 65"/>
              <a:gd name="T25" fmla="*/ 13759 h 75"/>
              <a:gd name="T26" fmla="*/ 26987 w 65"/>
              <a:gd name="T27" fmla="*/ 11113 h 75"/>
              <a:gd name="T28" fmla="*/ 26157 w 65"/>
              <a:gd name="T29" fmla="*/ 9525 h 75"/>
              <a:gd name="T30" fmla="*/ 25326 w 65"/>
              <a:gd name="T31" fmla="*/ 6879 h 75"/>
              <a:gd name="T32" fmla="*/ 24081 w 65"/>
              <a:gd name="T33" fmla="*/ 5292 h 75"/>
              <a:gd name="T34" fmla="*/ 21174 w 65"/>
              <a:gd name="T35" fmla="*/ 2646 h 75"/>
              <a:gd name="T36" fmla="*/ 19098 w 65"/>
              <a:gd name="T37" fmla="*/ 0 h 75"/>
              <a:gd name="T38" fmla="*/ 14116 w 65"/>
              <a:gd name="T39" fmla="*/ 0 h 75"/>
              <a:gd name="T40" fmla="*/ 10795 w 65"/>
              <a:gd name="T41" fmla="*/ 0 h 75"/>
              <a:gd name="T42" fmla="*/ 10380 w 65"/>
              <a:gd name="T43" fmla="*/ 1058 h 75"/>
              <a:gd name="T44" fmla="*/ 9964 w 65"/>
              <a:gd name="T45" fmla="*/ 3704 h 75"/>
              <a:gd name="T46" fmla="*/ 9549 w 65"/>
              <a:gd name="T47" fmla="*/ 4763 h 75"/>
              <a:gd name="T48" fmla="*/ 9549 w 65"/>
              <a:gd name="T49" fmla="*/ 5821 h 75"/>
              <a:gd name="T50" fmla="*/ 9964 w 65"/>
              <a:gd name="T51" fmla="*/ 6350 h 75"/>
              <a:gd name="T52" fmla="*/ 10795 w 65"/>
              <a:gd name="T53" fmla="*/ 6879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1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30162 h 62"/>
              <a:gd name="T2" fmla="*/ 1310 w 40"/>
              <a:gd name="T3" fmla="*/ 25297 h 62"/>
              <a:gd name="T4" fmla="*/ 3056 w 40"/>
              <a:gd name="T5" fmla="*/ 20919 h 62"/>
              <a:gd name="T6" fmla="*/ 5239 w 40"/>
              <a:gd name="T7" fmla="*/ 16054 h 62"/>
              <a:gd name="T8" fmla="*/ 7422 w 40"/>
              <a:gd name="T9" fmla="*/ 12162 h 62"/>
              <a:gd name="T10" fmla="*/ 10041 w 40"/>
              <a:gd name="T11" fmla="*/ 8270 h 62"/>
              <a:gd name="T12" fmla="*/ 12661 w 40"/>
              <a:gd name="T13" fmla="*/ 4378 h 62"/>
              <a:gd name="T14" fmla="*/ 15280 w 40"/>
              <a:gd name="T15" fmla="*/ 1459 h 62"/>
              <a:gd name="T16" fmla="*/ 17463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2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68262 w 159"/>
              <a:gd name="T1" fmla="*/ 138113 h 259"/>
              <a:gd name="T2" fmla="*/ 68262 w 159"/>
              <a:gd name="T3" fmla="*/ 133847 h 259"/>
              <a:gd name="T4" fmla="*/ 68262 w 159"/>
              <a:gd name="T5" fmla="*/ 130114 h 259"/>
              <a:gd name="T6" fmla="*/ 68262 w 159"/>
              <a:gd name="T7" fmla="*/ 125848 h 259"/>
              <a:gd name="T8" fmla="*/ 68262 w 159"/>
              <a:gd name="T9" fmla="*/ 121582 h 259"/>
              <a:gd name="T10" fmla="*/ 68262 w 159"/>
              <a:gd name="T11" fmla="*/ 119449 h 259"/>
              <a:gd name="T12" fmla="*/ 67833 w 159"/>
              <a:gd name="T13" fmla="*/ 116783 h 259"/>
              <a:gd name="T14" fmla="*/ 66974 w 159"/>
              <a:gd name="T15" fmla="*/ 114650 h 259"/>
              <a:gd name="T16" fmla="*/ 65686 w 159"/>
              <a:gd name="T17" fmla="*/ 111984 h 259"/>
              <a:gd name="T18" fmla="*/ 62252 w 159"/>
              <a:gd name="T19" fmla="*/ 107717 h 259"/>
              <a:gd name="T20" fmla="*/ 57958 w 159"/>
              <a:gd name="T21" fmla="*/ 103985 h 259"/>
              <a:gd name="T22" fmla="*/ 53236 w 159"/>
              <a:gd name="T23" fmla="*/ 100785 h 259"/>
              <a:gd name="T24" fmla="*/ 48084 w 159"/>
              <a:gd name="T25" fmla="*/ 98119 h 259"/>
              <a:gd name="T26" fmla="*/ 42503 w 159"/>
              <a:gd name="T27" fmla="*/ 95986 h 259"/>
              <a:gd name="T28" fmla="*/ 37351 w 159"/>
              <a:gd name="T29" fmla="*/ 95453 h 259"/>
              <a:gd name="T30" fmla="*/ 36492 w 159"/>
              <a:gd name="T31" fmla="*/ 94919 h 259"/>
              <a:gd name="T32" fmla="*/ 35204 w 159"/>
              <a:gd name="T33" fmla="*/ 94386 h 259"/>
              <a:gd name="T34" fmla="*/ 34775 w 159"/>
              <a:gd name="T35" fmla="*/ 93320 h 259"/>
              <a:gd name="T36" fmla="*/ 34346 w 159"/>
              <a:gd name="T37" fmla="*/ 92253 h 259"/>
              <a:gd name="T38" fmla="*/ 34346 w 159"/>
              <a:gd name="T39" fmla="*/ 89054 h 259"/>
              <a:gd name="T40" fmla="*/ 34775 w 159"/>
              <a:gd name="T41" fmla="*/ 85854 h 259"/>
              <a:gd name="T42" fmla="*/ 36492 w 159"/>
              <a:gd name="T43" fmla="*/ 78922 h 259"/>
              <a:gd name="T44" fmla="*/ 37351 w 159"/>
              <a:gd name="T45" fmla="*/ 75722 h 259"/>
              <a:gd name="T46" fmla="*/ 31340 w 159"/>
              <a:gd name="T47" fmla="*/ 75189 h 259"/>
              <a:gd name="T48" fmla="*/ 25330 w 159"/>
              <a:gd name="T49" fmla="*/ 74122 h 259"/>
              <a:gd name="T50" fmla="*/ 20607 w 159"/>
              <a:gd name="T51" fmla="*/ 71989 h 259"/>
              <a:gd name="T52" fmla="*/ 17173 w 159"/>
              <a:gd name="T53" fmla="*/ 68790 h 259"/>
              <a:gd name="T54" fmla="*/ 13309 w 159"/>
              <a:gd name="T55" fmla="*/ 64524 h 259"/>
              <a:gd name="T56" fmla="*/ 10304 w 159"/>
              <a:gd name="T57" fmla="*/ 60258 h 259"/>
              <a:gd name="T58" fmla="*/ 7728 w 159"/>
              <a:gd name="T59" fmla="*/ 55459 h 259"/>
              <a:gd name="T60" fmla="*/ 5581 w 159"/>
              <a:gd name="T61" fmla="*/ 50126 h 259"/>
              <a:gd name="T62" fmla="*/ 3864 w 159"/>
              <a:gd name="T63" fmla="*/ 44793 h 259"/>
              <a:gd name="T64" fmla="*/ 3005 w 159"/>
              <a:gd name="T65" fmla="*/ 38928 h 259"/>
              <a:gd name="T66" fmla="*/ 2147 w 159"/>
              <a:gd name="T67" fmla="*/ 31995 h 259"/>
              <a:gd name="T68" fmla="*/ 859 w 159"/>
              <a:gd name="T69" fmla="*/ 25596 h 259"/>
              <a:gd name="T70" fmla="*/ 0 w 159"/>
              <a:gd name="T71" fmla="*/ 13331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3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4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15875 h 25"/>
              <a:gd name="T2" fmla="*/ 488 w 13"/>
              <a:gd name="T3" fmla="*/ 12065 h 25"/>
              <a:gd name="T4" fmla="*/ 1954 w 13"/>
              <a:gd name="T5" fmla="*/ 8255 h 25"/>
              <a:gd name="T6" fmla="*/ 3908 w 13"/>
              <a:gd name="T7" fmla="*/ 3810 h 25"/>
              <a:gd name="T8" fmla="*/ 6350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5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56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46038 w 100"/>
              <a:gd name="T1" fmla="*/ 66675 h 123"/>
              <a:gd name="T2" fmla="*/ 41434 w 100"/>
              <a:gd name="T3" fmla="*/ 66133 h 123"/>
              <a:gd name="T4" fmla="*/ 34989 w 100"/>
              <a:gd name="T5" fmla="*/ 64507 h 123"/>
              <a:gd name="T6" fmla="*/ 27623 w 100"/>
              <a:gd name="T7" fmla="*/ 61796 h 123"/>
              <a:gd name="T8" fmla="*/ 19796 w 100"/>
              <a:gd name="T9" fmla="*/ 58002 h 123"/>
              <a:gd name="T10" fmla="*/ 15653 w 100"/>
              <a:gd name="T11" fmla="*/ 55834 h 123"/>
              <a:gd name="T12" fmla="*/ 12430 w 100"/>
              <a:gd name="T13" fmla="*/ 53665 h 123"/>
              <a:gd name="T14" fmla="*/ 9208 w 100"/>
              <a:gd name="T15" fmla="*/ 50955 h 123"/>
              <a:gd name="T16" fmla="*/ 5985 w 100"/>
              <a:gd name="T17" fmla="*/ 48245 h 123"/>
              <a:gd name="T18" fmla="*/ 3683 w 100"/>
              <a:gd name="T19" fmla="*/ 45534 h 123"/>
              <a:gd name="T20" fmla="*/ 1842 w 100"/>
              <a:gd name="T21" fmla="*/ 42824 h 123"/>
              <a:gd name="T22" fmla="*/ 460 w 100"/>
              <a:gd name="T23" fmla="*/ 39571 h 123"/>
              <a:gd name="T24" fmla="*/ 0 w 100"/>
              <a:gd name="T25" fmla="*/ 36861 h 123"/>
              <a:gd name="T26" fmla="*/ 921 w 100"/>
              <a:gd name="T27" fmla="*/ 29814 h 123"/>
              <a:gd name="T28" fmla="*/ 3223 w 100"/>
              <a:gd name="T29" fmla="*/ 19515 h 123"/>
              <a:gd name="T30" fmla="*/ 5064 w 100"/>
              <a:gd name="T31" fmla="*/ 9215 h 123"/>
              <a:gd name="T32" fmla="*/ 5985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7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1587 w 5"/>
              <a:gd name="T1" fmla="*/ 0 h 99"/>
              <a:gd name="T2" fmla="*/ 1270 w 5"/>
              <a:gd name="T3" fmla="*/ 17446 h 99"/>
              <a:gd name="T4" fmla="*/ 317 w 5"/>
              <a:gd name="T5" fmla="*/ 30275 h 99"/>
              <a:gd name="T6" fmla="*/ 0 w 5"/>
              <a:gd name="T7" fmla="*/ 35406 h 99"/>
              <a:gd name="T8" fmla="*/ 0 w 5"/>
              <a:gd name="T9" fmla="*/ 40024 h 99"/>
              <a:gd name="T10" fmla="*/ 635 w 5"/>
              <a:gd name="T11" fmla="*/ 44642 h 99"/>
              <a:gd name="T12" fmla="*/ 1587 w 5"/>
              <a:gd name="T13" fmla="*/ 50800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8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7937 w 14"/>
              <a:gd name="T1" fmla="*/ 0 h 68"/>
              <a:gd name="T2" fmla="*/ 4535 w 14"/>
              <a:gd name="T3" fmla="*/ 8591 h 68"/>
              <a:gd name="T4" fmla="*/ 2268 w 14"/>
              <a:gd name="T5" fmla="*/ 17719 h 68"/>
              <a:gd name="T6" fmla="*/ 1134 w 14"/>
              <a:gd name="T7" fmla="*/ 27921 h 68"/>
              <a:gd name="T8" fmla="*/ 0 w 14"/>
              <a:gd name="T9" fmla="*/ 36512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9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6719 h 43"/>
              <a:gd name="T4" fmla="*/ 0 w 1587"/>
              <a:gd name="T5" fmla="*/ 13438 h 43"/>
              <a:gd name="T6" fmla="*/ 0 w 1587"/>
              <a:gd name="T7" fmla="*/ 19124 h 43"/>
              <a:gd name="T8" fmla="*/ 0 w 1587"/>
              <a:gd name="T9" fmla="*/ 22225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61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0 w 1587"/>
              <a:gd name="T1" fmla="*/ 15875 h 31"/>
              <a:gd name="T2" fmla="*/ 0 w 1587"/>
              <a:gd name="T3" fmla="*/ 11266 h 31"/>
              <a:gd name="T4" fmla="*/ 0 w 1587"/>
              <a:gd name="T5" fmla="*/ 7681 h 31"/>
              <a:gd name="T6" fmla="*/ 0 w 1587"/>
              <a:gd name="T7" fmla="*/ 409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2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8177 w 225"/>
              <a:gd name="T1" fmla="*/ 82608 h 167"/>
              <a:gd name="T2" fmla="*/ 3013 w 225"/>
              <a:gd name="T3" fmla="*/ 74242 h 167"/>
              <a:gd name="T4" fmla="*/ 0 w 225"/>
              <a:gd name="T5" fmla="*/ 67968 h 167"/>
              <a:gd name="T6" fmla="*/ 430 w 225"/>
              <a:gd name="T7" fmla="*/ 56466 h 167"/>
              <a:gd name="T8" fmla="*/ 4734 w 225"/>
              <a:gd name="T9" fmla="*/ 35553 h 167"/>
              <a:gd name="T10" fmla="*/ 10329 w 225"/>
              <a:gd name="T11" fmla="*/ 20390 h 167"/>
              <a:gd name="T12" fmla="*/ 14633 w 225"/>
              <a:gd name="T13" fmla="*/ 10979 h 167"/>
              <a:gd name="T14" fmla="*/ 18937 w 225"/>
              <a:gd name="T15" fmla="*/ 4705 h 167"/>
              <a:gd name="T16" fmla="*/ 23241 w 225"/>
              <a:gd name="T17" fmla="*/ 523 h 167"/>
              <a:gd name="T18" fmla="*/ 27975 w 225"/>
              <a:gd name="T19" fmla="*/ 523 h 167"/>
              <a:gd name="T20" fmla="*/ 32709 w 225"/>
              <a:gd name="T21" fmla="*/ 1568 h 167"/>
              <a:gd name="T22" fmla="*/ 37874 w 225"/>
              <a:gd name="T23" fmla="*/ 4183 h 167"/>
              <a:gd name="T24" fmla="*/ 43039 w 225"/>
              <a:gd name="T25" fmla="*/ 8888 h 167"/>
              <a:gd name="T26" fmla="*/ 48203 w 225"/>
              <a:gd name="T27" fmla="*/ 12548 h 167"/>
              <a:gd name="T28" fmla="*/ 55089 w 225"/>
              <a:gd name="T29" fmla="*/ 12548 h 167"/>
              <a:gd name="T30" fmla="*/ 62406 w 225"/>
              <a:gd name="T31" fmla="*/ 9934 h 167"/>
              <a:gd name="T32" fmla="*/ 71014 w 225"/>
              <a:gd name="T33" fmla="*/ 3660 h 167"/>
              <a:gd name="T34" fmla="*/ 96837 w 225"/>
              <a:gd name="T35" fmla="*/ 0 h 167"/>
              <a:gd name="T36" fmla="*/ 92533 w 225"/>
              <a:gd name="T37" fmla="*/ 11502 h 167"/>
              <a:gd name="T38" fmla="*/ 86508 w 225"/>
              <a:gd name="T39" fmla="*/ 21436 h 167"/>
              <a:gd name="T40" fmla="*/ 72305 w 225"/>
              <a:gd name="T41" fmla="*/ 37644 h 167"/>
              <a:gd name="T42" fmla="*/ 59393 w 225"/>
              <a:gd name="T43" fmla="*/ 52283 h 167"/>
              <a:gd name="T44" fmla="*/ 55520 w 225"/>
              <a:gd name="T45" fmla="*/ 59603 h 167"/>
              <a:gd name="T46" fmla="*/ 54229 w 225"/>
              <a:gd name="T47" fmla="*/ 67968 h 167"/>
              <a:gd name="T48" fmla="*/ 52938 w 225"/>
              <a:gd name="T49" fmla="*/ 65877 h 167"/>
              <a:gd name="T50" fmla="*/ 51646 w 225"/>
              <a:gd name="T51" fmla="*/ 61171 h 167"/>
              <a:gd name="T52" fmla="*/ 45621 w 225"/>
              <a:gd name="T53" fmla="*/ 63263 h 167"/>
              <a:gd name="T54" fmla="*/ 41748 w 225"/>
              <a:gd name="T55" fmla="*/ 66923 h 167"/>
              <a:gd name="T56" fmla="*/ 34431 w 225"/>
              <a:gd name="T57" fmla="*/ 75811 h 167"/>
              <a:gd name="T58" fmla="*/ 30557 w 225"/>
              <a:gd name="T59" fmla="*/ 79993 h 167"/>
              <a:gd name="T60" fmla="*/ 25823 w 225"/>
              <a:gd name="T61" fmla="*/ 83653 h 167"/>
              <a:gd name="T62" fmla="*/ 19798 w 225"/>
              <a:gd name="T63" fmla="*/ 86267 h 167"/>
              <a:gd name="T64" fmla="*/ 11190 w 225"/>
              <a:gd name="T65" fmla="*/ 87313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3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17463 h 31"/>
              <a:gd name="T2" fmla="*/ 2268 w 7"/>
              <a:gd name="T3" fmla="*/ 12393 h 31"/>
              <a:gd name="T4" fmla="*/ 2721 w 7"/>
              <a:gd name="T5" fmla="*/ 7323 h 31"/>
              <a:gd name="T6" fmla="*/ 3175 w 7"/>
              <a:gd name="T7" fmla="*/ 3380 h 31"/>
              <a:gd name="T8" fmla="*/ 3175 w 7"/>
              <a:gd name="T9" fmla="*/ 0 h 31"/>
              <a:gd name="T10" fmla="*/ 2721 w 7"/>
              <a:gd name="T11" fmla="*/ 3380 h 31"/>
              <a:gd name="T12" fmla="*/ 1814 w 7"/>
              <a:gd name="T13" fmla="*/ 7323 h 31"/>
              <a:gd name="T14" fmla="*/ 454 w 7"/>
              <a:gd name="T15" fmla="*/ 12393 h 31"/>
              <a:gd name="T16" fmla="*/ 0 w 7"/>
              <a:gd name="T17" fmla="*/ 17463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4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15875 w 33"/>
              <a:gd name="T1" fmla="*/ 15875 h 31"/>
              <a:gd name="T2" fmla="*/ 15875 w 33"/>
              <a:gd name="T3" fmla="*/ 0 h 31"/>
              <a:gd name="T4" fmla="*/ 12989 w 33"/>
              <a:gd name="T5" fmla="*/ 0 h 31"/>
              <a:gd name="T6" fmla="*/ 10583 w 33"/>
              <a:gd name="T7" fmla="*/ 1024 h 31"/>
              <a:gd name="T8" fmla="*/ 7697 w 33"/>
              <a:gd name="T9" fmla="*/ 2560 h 31"/>
              <a:gd name="T10" fmla="*/ 5292 w 33"/>
              <a:gd name="T11" fmla="*/ 4097 h 31"/>
              <a:gd name="T12" fmla="*/ 2886 w 33"/>
              <a:gd name="T13" fmla="*/ 6145 h 31"/>
              <a:gd name="T14" fmla="*/ 1443 w 33"/>
              <a:gd name="T15" fmla="*/ 8194 h 31"/>
              <a:gd name="T16" fmla="*/ 481 w 33"/>
              <a:gd name="T17" fmla="*/ 10754 h 31"/>
              <a:gd name="T18" fmla="*/ 0 w 33"/>
              <a:gd name="T19" fmla="*/ 12802 h 31"/>
              <a:gd name="T20" fmla="*/ 481 w 33"/>
              <a:gd name="T21" fmla="*/ 13827 h 31"/>
              <a:gd name="T22" fmla="*/ 1443 w 33"/>
              <a:gd name="T23" fmla="*/ 14851 h 31"/>
              <a:gd name="T24" fmla="*/ 2886 w 33"/>
              <a:gd name="T25" fmla="*/ 15363 h 31"/>
              <a:gd name="T26" fmla="*/ 5292 w 33"/>
              <a:gd name="T27" fmla="*/ 15363 h 31"/>
              <a:gd name="T28" fmla="*/ 10583 w 33"/>
              <a:gd name="T29" fmla="*/ 15875 h 31"/>
              <a:gd name="T30" fmla="*/ 15875 w 33"/>
              <a:gd name="T31" fmla="*/ 15875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5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9525 h 19"/>
              <a:gd name="T2" fmla="*/ 488 w 13"/>
              <a:gd name="T3" fmla="*/ 9024 h 19"/>
              <a:gd name="T4" fmla="*/ 1221 w 13"/>
              <a:gd name="T5" fmla="*/ 8522 h 19"/>
              <a:gd name="T6" fmla="*/ 1710 w 13"/>
              <a:gd name="T7" fmla="*/ 7520 h 19"/>
              <a:gd name="T8" fmla="*/ 1954 w 13"/>
              <a:gd name="T9" fmla="*/ 6016 h 19"/>
              <a:gd name="T10" fmla="*/ 2931 w 13"/>
              <a:gd name="T11" fmla="*/ 3008 h 19"/>
              <a:gd name="T12" fmla="*/ 3175 w 13"/>
              <a:gd name="T13" fmla="*/ 0 h 19"/>
              <a:gd name="T14" fmla="*/ 0 w 13"/>
              <a:gd name="T15" fmla="*/ 9525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6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22663 w 87"/>
              <a:gd name="T1" fmla="*/ 22225 h 42"/>
              <a:gd name="T2" fmla="*/ 24761 w 87"/>
              <a:gd name="T3" fmla="*/ 22225 h 42"/>
              <a:gd name="T4" fmla="*/ 26859 w 87"/>
              <a:gd name="T5" fmla="*/ 21696 h 42"/>
              <a:gd name="T6" fmla="*/ 28538 w 87"/>
              <a:gd name="T7" fmla="*/ 21167 h 42"/>
              <a:gd name="T8" fmla="*/ 29797 w 87"/>
              <a:gd name="T9" fmla="*/ 20108 h 42"/>
              <a:gd name="T10" fmla="*/ 31476 w 87"/>
              <a:gd name="T11" fmla="*/ 17992 h 42"/>
              <a:gd name="T12" fmla="*/ 32735 w 87"/>
              <a:gd name="T13" fmla="*/ 14817 h 42"/>
              <a:gd name="T14" fmla="*/ 33155 w 87"/>
              <a:gd name="T15" fmla="*/ 11642 h 42"/>
              <a:gd name="T16" fmla="*/ 33574 w 87"/>
              <a:gd name="T17" fmla="*/ 8467 h 42"/>
              <a:gd name="T18" fmla="*/ 34414 w 87"/>
              <a:gd name="T19" fmla="*/ 5821 h 42"/>
              <a:gd name="T20" fmla="*/ 36512 w 87"/>
              <a:gd name="T21" fmla="*/ 3175 h 42"/>
              <a:gd name="T22" fmla="*/ 32315 w 87"/>
              <a:gd name="T23" fmla="*/ 1058 h 42"/>
              <a:gd name="T24" fmla="*/ 28118 w 87"/>
              <a:gd name="T25" fmla="*/ 0 h 42"/>
              <a:gd name="T26" fmla="*/ 23922 w 87"/>
              <a:gd name="T27" fmla="*/ 0 h 42"/>
              <a:gd name="T28" fmla="*/ 19725 w 87"/>
              <a:gd name="T29" fmla="*/ 0 h 42"/>
              <a:gd name="T30" fmla="*/ 16787 w 87"/>
              <a:gd name="T31" fmla="*/ 0 h 42"/>
              <a:gd name="T32" fmla="*/ 13430 w 87"/>
              <a:gd name="T33" fmla="*/ 1058 h 42"/>
              <a:gd name="T34" fmla="*/ 10492 w 87"/>
              <a:gd name="T35" fmla="*/ 2117 h 42"/>
              <a:gd name="T36" fmla="*/ 7974 w 87"/>
              <a:gd name="T37" fmla="*/ 3175 h 42"/>
              <a:gd name="T38" fmla="*/ 3357 w 87"/>
              <a:gd name="T39" fmla="*/ 6350 h 42"/>
              <a:gd name="T40" fmla="*/ 0 w 87"/>
              <a:gd name="T41" fmla="*/ 9525 h 42"/>
              <a:gd name="T42" fmla="*/ 4616 w 87"/>
              <a:gd name="T43" fmla="*/ 12700 h 42"/>
              <a:gd name="T44" fmla="*/ 11331 w 87"/>
              <a:gd name="T45" fmla="*/ 16933 h 42"/>
              <a:gd name="T46" fmla="*/ 18046 w 87"/>
              <a:gd name="T47" fmla="*/ 20638 h 42"/>
              <a:gd name="T48" fmla="*/ 22663 w 87"/>
              <a:gd name="T49" fmla="*/ 22225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7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1587 w 7"/>
              <a:gd name="T3" fmla="*/ 0 h 31"/>
              <a:gd name="T4" fmla="*/ 1587 w 7"/>
              <a:gd name="T5" fmla="*/ 8296 h 31"/>
              <a:gd name="T6" fmla="*/ 0 w 7"/>
              <a:gd name="T7" fmla="*/ 14288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8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93526 w 2332"/>
              <a:gd name="T1" fmla="*/ 370879 h 1731"/>
              <a:gd name="T2" fmla="*/ 142038 w 2332"/>
              <a:gd name="T3" fmla="*/ 340453 h 1731"/>
              <a:gd name="T4" fmla="*/ 190112 w 2332"/>
              <a:gd name="T5" fmla="*/ 317896 h 1731"/>
              <a:gd name="T6" fmla="*/ 264409 w 2332"/>
              <a:gd name="T7" fmla="*/ 299011 h 1731"/>
              <a:gd name="T8" fmla="*/ 295875 w 2332"/>
              <a:gd name="T9" fmla="*/ 229242 h 1731"/>
              <a:gd name="T10" fmla="*/ 331276 w 2332"/>
              <a:gd name="T11" fmla="*/ 230291 h 1731"/>
              <a:gd name="T12" fmla="*/ 342639 w 2332"/>
              <a:gd name="T13" fmla="*/ 190423 h 1731"/>
              <a:gd name="T14" fmla="*/ 378476 w 2332"/>
              <a:gd name="T15" fmla="*/ 165768 h 1731"/>
              <a:gd name="T16" fmla="*/ 410380 w 2332"/>
              <a:gd name="T17" fmla="*/ 129047 h 1731"/>
              <a:gd name="T18" fmla="*/ 448839 w 2332"/>
              <a:gd name="T19" fmla="*/ 116982 h 1731"/>
              <a:gd name="T20" fmla="*/ 471128 w 2332"/>
              <a:gd name="T21" fmla="*/ 148981 h 1731"/>
              <a:gd name="T22" fmla="*/ 496039 w 2332"/>
              <a:gd name="T23" fmla="*/ 141637 h 1731"/>
              <a:gd name="T24" fmla="*/ 513958 w 2332"/>
              <a:gd name="T25" fmla="*/ 90228 h 1731"/>
              <a:gd name="T26" fmla="*/ 576892 w 2332"/>
              <a:gd name="T27" fmla="*/ 61376 h 1731"/>
              <a:gd name="T28" fmla="*/ 583884 w 2332"/>
              <a:gd name="T29" fmla="*/ 21508 h 1731"/>
              <a:gd name="T30" fmla="*/ 625840 w 2332"/>
              <a:gd name="T31" fmla="*/ 56130 h 1731"/>
              <a:gd name="T32" fmla="*/ 674788 w 2332"/>
              <a:gd name="T33" fmla="*/ 61376 h 1731"/>
              <a:gd name="T34" fmla="*/ 640262 w 2332"/>
              <a:gd name="T35" fmla="*/ 137440 h 1731"/>
              <a:gd name="T36" fmla="*/ 659492 w 2332"/>
              <a:gd name="T37" fmla="*/ 174686 h 1731"/>
              <a:gd name="T38" fmla="*/ 691396 w 2332"/>
              <a:gd name="T39" fmla="*/ 185702 h 1731"/>
              <a:gd name="T40" fmla="*/ 728981 w 2332"/>
              <a:gd name="T41" fmla="*/ 221898 h 1731"/>
              <a:gd name="T42" fmla="*/ 770937 w 2332"/>
              <a:gd name="T43" fmla="*/ 216652 h 1731"/>
              <a:gd name="T44" fmla="*/ 799781 w 2332"/>
              <a:gd name="T45" fmla="*/ 107539 h 1731"/>
              <a:gd name="T46" fmla="*/ 832122 w 2332"/>
              <a:gd name="T47" fmla="*/ 5246 h 1731"/>
              <a:gd name="T48" fmla="*/ 844796 w 2332"/>
              <a:gd name="T49" fmla="*/ 41966 h 1731"/>
              <a:gd name="T50" fmla="*/ 849604 w 2332"/>
              <a:gd name="T51" fmla="*/ 92326 h 1731"/>
              <a:gd name="T52" fmla="*/ 867959 w 2332"/>
              <a:gd name="T53" fmla="*/ 125899 h 1731"/>
              <a:gd name="T54" fmla="*/ 891560 w 2332"/>
              <a:gd name="T55" fmla="*/ 225045 h 1731"/>
              <a:gd name="T56" fmla="*/ 912975 w 2332"/>
              <a:gd name="T57" fmla="*/ 283274 h 1731"/>
              <a:gd name="T58" fmla="*/ 945315 w 2332"/>
              <a:gd name="T59" fmla="*/ 359863 h 1731"/>
              <a:gd name="T60" fmla="*/ 969790 w 2332"/>
              <a:gd name="T61" fmla="*/ 403403 h 1731"/>
              <a:gd name="T62" fmla="*/ 1019175 w 2332"/>
              <a:gd name="T63" fmla="*/ 467926 h 1731"/>
              <a:gd name="T64" fmla="*/ 994701 w 2332"/>
              <a:gd name="T65" fmla="*/ 579662 h 1731"/>
              <a:gd name="T66" fmla="*/ 912100 w 2332"/>
              <a:gd name="T67" fmla="*/ 714480 h 1731"/>
              <a:gd name="T68" fmla="*/ 876263 w 2332"/>
              <a:gd name="T69" fmla="*/ 751200 h 1731"/>
              <a:gd name="T70" fmla="*/ 803278 w 2332"/>
              <a:gd name="T71" fmla="*/ 834609 h 1731"/>
              <a:gd name="T72" fmla="*/ 764381 w 2332"/>
              <a:gd name="T73" fmla="*/ 879198 h 1731"/>
              <a:gd name="T74" fmla="*/ 694455 w 2332"/>
              <a:gd name="T75" fmla="*/ 905427 h 1731"/>
              <a:gd name="T76" fmla="*/ 662988 w 2332"/>
              <a:gd name="T77" fmla="*/ 888116 h 1731"/>
              <a:gd name="T78" fmla="*/ 616225 w 2332"/>
              <a:gd name="T79" fmla="*/ 907001 h 1731"/>
              <a:gd name="T80" fmla="*/ 566840 w 2332"/>
              <a:gd name="T81" fmla="*/ 888116 h 1731"/>
              <a:gd name="T82" fmla="*/ 558973 w 2332"/>
              <a:gd name="T83" fmla="*/ 846674 h 1731"/>
              <a:gd name="T84" fmla="*/ 551980 w 2332"/>
              <a:gd name="T85" fmla="*/ 795265 h 1731"/>
              <a:gd name="T86" fmla="*/ 535373 w 2332"/>
              <a:gd name="T87" fmla="*/ 786872 h 1731"/>
              <a:gd name="T88" fmla="*/ 559410 w 2332"/>
              <a:gd name="T89" fmla="*/ 724971 h 1731"/>
              <a:gd name="T90" fmla="*/ 475498 w 2332"/>
              <a:gd name="T91" fmla="*/ 714480 h 1731"/>
              <a:gd name="T92" fmla="*/ 419995 w 2332"/>
              <a:gd name="T93" fmla="*/ 672513 h 1731"/>
              <a:gd name="T94" fmla="*/ 329527 w 2332"/>
              <a:gd name="T95" fmla="*/ 694021 h 1731"/>
              <a:gd name="T96" fmla="*/ 221579 w 2332"/>
              <a:gd name="T97" fmla="*/ 744381 h 1731"/>
              <a:gd name="T98" fmla="*/ 93526 w 2332"/>
              <a:gd name="T99" fmla="*/ 772708 h 1731"/>
              <a:gd name="T100" fmla="*/ 24037 w 2332"/>
              <a:gd name="T101" fmla="*/ 781626 h 1731"/>
              <a:gd name="T102" fmla="*/ 874 w 2332"/>
              <a:gd name="T103" fmla="*/ 746479 h 1731"/>
              <a:gd name="T104" fmla="*/ 42393 w 2332"/>
              <a:gd name="T105" fmla="*/ 705037 h 1731"/>
              <a:gd name="T106" fmla="*/ 32778 w 2332"/>
              <a:gd name="T107" fmla="*/ 651005 h 1731"/>
              <a:gd name="T108" fmla="*/ 49385 w 2332"/>
              <a:gd name="T109" fmla="*/ 613760 h 1731"/>
              <a:gd name="T110" fmla="*/ 25348 w 2332"/>
              <a:gd name="T111" fmla="*/ 494680 h 1731"/>
              <a:gd name="T112" fmla="*/ 49385 w 2332"/>
              <a:gd name="T113" fmla="*/ 505696 h 1731"/>
              <a:gd name="T114" fmla="*/ 46326 w 2332"/>
              <a:gd name="T115" fmla="*/ 452189 h 1731"/>
              <a:gd name="T116" fmla="*/ 64245 w 2332"/>
              <a:gd name="T117" fmla="*/ 401305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9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541201 w 1535"/>
              <a:gd name="T1" fmla="*/ 484624 h 1109"/>
              <a:gd name="T2" fmla="*/ 565583 w 1535"/>
              <a:gd name="T3" fmla="*/ 514487 h 1109"/>
              <a:gd name="T4" fmla="*/ 531186 w 1535"/>
              <a:gd name="T5" fmla="*/ 523394 h 1109"/>
              <a:gd name="T6" fmla="*/ 512464 w 1535"/>
              <a:gd name="T7" fmla="*/ 573690 h 1109"/>
              <a:gd name="T8" fmla="*/ 463700 w 1535"/>
              <a:gd name="T9" fmla="*/ 527061 h 1109"/>
              <a:gd name="T10" fmla="*/ 432786 w 1535"/>
              <a:gd name="T11" fmla="*/ 530205 h 1109"/>
              <a:gd name="T12" fmla="*/ 397519 w 1535"/>
              <a:gd name="T13" fmla="*/ 544351 h 1109"/>
              <a:gd name="T14" fmla="*/ 342223 w 1535"/>
              <a:gd name="T15" fmla="*/ 508724 h 1109"/>
              <a:gd name="T16" fmla="*/ 282138 w 1535"/>
              <a:gd name="T17" fmla="*/ 480433 h 1109"/>
              <a:gd name="T18" fmla="*/ 256014 w 1535"/>
              <a:gd name="T19" fmla="*/ 462620 h 1109"/>
              <a:gd name="T20" fmla="*/ 233809 w 1535"/>
              <a:gd name="T21" fmla="*/ 437471 h 1109"/>
              <a:gd name="T22" fmla="*/ 211168 w 1535"/>
              <a:gd name="T23" fmla="*/ 432756 h 1109"/>
              <a:gd name="T24" fmla="*/ 191140 w 1535"/>
              <a:gd name="T25" fmla="*/ 396606 h 1109"/>
              <a:gd name="T26" fmla="*/ 203331 w 1535"/>
              <a:gd name="T27" fmla="*/ 369362 h 1109"/>
              <a:gd name="T28" fmla="*/ 195929 w 1535"/>
              <a:gd name="T29" fmla="*/ 314875 h 1109"/>
              <a:gd name="T30" fmla="*/ 153260 w 1535"/>
              <a:gd name="T31" fmla="*/ 245194 h 1109"/>
              <a:gd name="T32" fmla="*/ 132361 w 1535"/>
              <a:gd name="T33" fmla="*/ 223189 h 1109"/>
              <a:gd name="T34" fmla="*/ 127572 w 1535"/>
              <a:gd name="T35" fmla="*/ 193326 h 1109"/>
              <a:gd name="T36" fmla="*/ 94482 w 1535"/>
              <a:gd name="T37" fmla="*/ 129932 h 1109"/>
              <a:gd name="T38" fmla="*/ 72712 w 1535"/>
              <a:gd name="T39" fmla="*/ 38770 h 1109"/>
              <a:gd name="T40" fmla="*/ 36573 w 1535"/>
              <a:gd name="T41" fmla="*/ 54487 h 1109"/>
              <a:gd name="T42" fmla="*/ 49200 w 1535"/>
              <a:gd name="T43" fmla="*/ 116310 h 1109"/>
              <a:gd name="T44" fmla="*/ 65310 w 1535"/>
              <a:gd name="T45" fmla="*/ 170797 h 1109"/>
              <a:gd name="T46" fmla="*/ 85338 w 1535"/>
              <a:gd name="T47" fmla="*/ 210615 h 1109"/>
              <a:gd name="T48" fmla="*/ 87080 w 1535"/>
              <a:gd name="T49" fmla="*/ 243622 h 1109"/>
              <a:gd name="T50" fmla="*/ 92740 w 1535"/>
              <a:gd name="T51" fmla="*/ 274533 h 1109"/>
              <a:gd name="T52" fmla="*/ 112768 w 1535"/>
              <a:gd name="T53" fmla="*/ 299157 h 1109"/>
              <a:gd name="T54" fmla="*/ 93175 w 1535"/>
              <a:gd name="T55" fmla="*/ 312255 h 1109"/>
              <a:gd name="T56" fmla="*/ 84032 w 1535"/>
              <a:gd name="T57" fmla="*/ 283964 h 1109"/>
              <a:gd name="T58" fmla="*/ 52248 w 1535"/>
              <a:gd name="T59" fmla="*/ 248337 h 1109"/>
              <a:gd name="T60" fmla="*/ 63568 w 1535"/>
              <a:gd name="T61" fmla="*/ 220046 h 1109"/>
              <a:gd name="T62" fmla="*/ 38750 w 1535"/>
              <a:gd name="T63" fmla="*/ 191754 h 1109"/>
              <a:gd name="T64" fmla="*/ 11756 w 1535"/>
              <a:gd name="T65" fmla="*/ 160843 h 1109"/>
              <a:gd name="T66" fmla="*/ 28301 w 1535"/>
              <a:gd name="T67" fmla="*/ 151412 h 1109"/>
              <a:gd name="T68" fmla="*/ 27866 w 1535"/>
              <a:gd name="T69" fmla="*/ 117882 h 1109"/>
              <a:gd name="T70" fmla="*/ 2612 w 1535"/>
              <a:gd name="T71" fmla="*/ 61298 h 1109"/>
              <a:gd name="T72" fmla="*/ 16545 w 1535"/>
              <a:gd name="T73" fmla="*/ 2620 h 1109"/>
              <a:gd name="T74" fmla="*/ 91869 w 1535"/>
              <a:gd name="T75" fmla="*/ 9431 h 1109"/>
              <a:gd name="T76" fmla="*/ 157179 w 1535"/>
              <a:gd name="T77" fmla="*/ 39818 h 1109"/>
              <a:gd name="T78" fmla="*/ 216829 w 1535"/>
              <a:gd name="T79" fmla="*/ 28815 h 1109"/>
              <a:gd name="T80" fmla="*/ 258191 w 1535"/>
              <a:gd name="T81" fmla="*/ 28292 h 1109"/>
              <a:gd name="T82" fmla="*/ 275607 w 1535"/>
              <a:gd name="T83" fmla="*/ 57631 h 1109"/>
              <a:gd name="T84" fmla="*/ 304779 w 1535"/>
              <a:gd name="T85" fmla="*/ 112642 h 1109"/>
              <a:gd name="T86" fmla="*/ 326549 w 1535"/>
              <a:gd name="T87" fmla="*/ 100592 h 1109"/>
              <a:gd name="T88" fmla="*/ 357898 w 1535"/>
              <a:gd name="T89" fmla="*/ 92210 h 1109"/>
              <a:gd name="T90" fmla="*/ 382715 w 1535"/>
              <a:gd name="T91" fmla="*/ 127836 h 1109"/>
              <a:gd name="T92" fmla="*/ 394036 w 1535"/>
              <a:gd name="T93" fmla="*/ 189658 h 1109"/>
              <a:gd name="T94" fmla="*/ 419724 w 1535"/>
              <a:gd name="T95" fmla="*/ 212187 h 1109"/>
              <a:gd name="T96" fmla="*/ 425385 w 1535"/>
              <a:gd name="T97" fmla="*/ 238907 h 1109"/>
              <a:gd name="T98" fmla="*/ 405356 w 1535"/>
              <a:gd name="T99" fmla="*/ 257768 h 1109"/>
              <a:gd name="T100" fmla="*/ 399261 w 1535"/>
              <a:gd name="T101" fmla="*/ 332164 h 1109"/>
              <a:gd name="T102" fmla="*/ 416241 w 1535"/>
              <a:gd name="T103" fmla="*/ 414419 h 1109"/>
              <a:gd name="T104" fmla="*/ 458910 w 1535"/>
              <a:gd name="T105" fmla="*/ 459476 h 1109"/>
              <a:gd name="T106" fmla="*/ 507675 w 1535"/>
              <a:gd name="T107" fmla="*/ 444806 h 1109"/>
              <a:gd name="T108" fmla="*/ 543813 w 1535"/>
              <a:gd name="T109" fmla="*/ 445330 h 1109"/>
              <a:gd name="T110" fmla="*/ 564277 w 1535"/>
              <a:gd name="T111" fmla="*/ 388747 h 1109"/>
              <a:gd name="T112" fmla="*/ 581693 w 1535"/>
              <a:gd name="T113" fmla="*/ 363075 h 1109"/>
              <a:gd name="T114" fmla="*/ 655710 w 1535"/>
              <a:gd name="T115" fmla="*/ 355216 h 1109"/>
              <a:gd name="T116" fmla="*/ 654404 w 1535"/>
              <a:gd name="T117" fmla="*/ 381936 h 1109"/>
              <a:gd name="T118" fmla="*/ 639165 w 1535"/>
              <a:gd name="T119" fmla="*/ 430137 h 1109"/>
              <a:gd name="T120" fmla="*/ 596061 w 1535"/>
              <a:gd name="T121" fmla="*/ 465239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70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6082 w 486"/>
              <a:gd name="T1" fmla="*/ 92396 h 505"/>
              <a:gd name="T2" fmla="*/ 13468 w 486"/>
              <a:gd name="T3" fmla="*/ 103945 h 505"/>
              <a:gd name="T4" fmla="*/ 22156 w 486"/>
              <a:gd name="T5" fmla="*/ 121794 h 505"/>
              <a:gd name="T6" fmla="*/ 35624 w 486"/>
              <a:gd name="T7" fmla="*/ 139644 h 505"/>
              <a:gd name="T8" fmla="*/ 54739 w 486"/>
              <a:gd name="T9" fmla="*/ 153818 h 505"/>
              <a:gd name="T10" fmla="*/ 73855 w 486"/>
              <a:gd name="T11" fmla="*/ 162743 h 505"/>
              <a:gd name="T12" fmla="*/ 106872 w 486"/>
              <a:gd name="T13" fmla="*/ 172192 h 505"/>
              <a:gd name="T14" fmla="*/ 128160 w 486"/>
              <a:gd name="T15" fmla="*/ 180592 h 505"/>
              <a:gd name="T16" fmla="*/ 129898 w 486"/>
              <a:gd name="T17" fmla="*/ 200016 h 505"/>
              <a:gd name="T18" fmla="*/ 120340 w 486"/>
              <a:gd name="T19" fmla="*/ 219440 h 505"/>
              <a:gd name="T20" fmla="*/ 115996 w 486"/>
              <a:gd name="T21" fmla="*/ 232564 h 505"/>
              <a:gd name="T22" fmla="*/ 115561 w 486"/>
              <a:gd name="T23" fmla="*/ 243064 h 505"/>
              <a:gd name="T24" fmla="*/ 120774 w 486"/>
              <a:gd name="T25" fmla="*/ 253039 h 505"/>
              <a:gd name="T26" fmla="*/ 129898 w 486"/>
              <a:gd name="T27" fmla="*/ 259338 h 505"/>
              <a:gd name="T28" fmla="*/ 149447 w 486"/>
              <a:gd name="T29" fmla="*/ 264588 h 505"/>
              <a:gd name="T30" fmla="*/ 168128 w 486"/>
              <a:gd name="T31" fmla="*/ 264588 h 505"/>
              <a:gd name="T32" fmla="*/ 180293 w 486"/>
              <a:gd name="T33" fmla="*/ 259338 h 505"/>
              <a:gd name="T34" fmla="*/ 193760 w 486"/>
              <a:gd name="T35" fmla="*/ 248839 h 505"/>
              <a:gd name="T36" fmla="*/ 205490 w 486"/>
              <a:gd name="T37" fmla="*/ 234664 h 505"/>
              <a:gd name="T38" fmla="*/ 210704 w 486"/>
              <a:gd name="T39" fmla="*/ 219440 h 505"/>
              <a:gd name="T40" fmla="*/ 210269 w 486"/>
              <a:gd name="T41" fmla="*/ 208416 h 505"/>
              <a:gd name="T42" fmla="*/ 207662 w 486"/>
              <a:gd name="T43" fmla="*/ 187941 h 505"/>
              <a:gd name="T44" fmla="*/ 204621 w 486"/>
              <a:gd name="T45" fmla="*/ 165892 h 505"/>
              <a:gd name="T46" fmla="*/ 202015 w 486"/>
              <a:gd name="T47" fmla="*/ 141744 h 505"/>
              <a:gd name="T48" fmla="*/ 198105 w 486"/>
              <a:gd name="T49" fmla="*/ 132294 h 505"/>
              <a:gd name="T50" fmla="*/ 190719 w 486"/>
              <a:gd name="T51" fmla="*/ 125469 h 505"/>
              <a:gd name="T52" fmla="*/ 179424 w 486"/>
              <a:gd name="T53" fmla="*/ 121794 h 505"/>
              <a:gd name="T54" fmla="*/ 170301 w 486"/>
              <a:gd name="T55" fmla="*/ 116545 h 505"/>
              <a:gd name="T56" fmla="*/ 160743 w 486"/>
              <a:gd name="T57" fmla="*/ 108670 h 505"/>
              <a:gd name="T58" fmla="*/ 143365 w 486"/>
              <a:gd name="T59" fmla="*/ 98696 h 505"/>
              <a:gd name="T60" fmla="*/ 125988 w 486"/>
              <a:gd name="T61" fmla="*/ 90296 h 505"/>
              <a:gd name="T62" fmla="*/ 118602 w 486"/>
              <a:gd name="T63" fmla="*/ 83996 h 505"/>
              <a:gd name="T64" fmla="*/ 114692 w 486"/>
              <a:gd name="T65" fmla="*/ 79271 h 505"/>
              <a:gd name="T66" fmla="*/ 113389 w 486"/>
              <a:gd name="T67" fmla="*/ 65622 h 505"/>
              <a:gd name="T68" fmla="*/ 113389 w 486"/>
              <a:gd name="T69" fmla="*/ 47248 h 505"/>
              <a:gd name="T70" fmla="*/ 110782 w 486"/>
              <a:gd name="T71" fmla="*/ 37273 h 505"/>
              <a:gd name="T72" fmla="*/ 104700 w 486"/>
              <a:gd name="T73" fmla="*/ 28874 h 505"/>
              <a:gd name="T74" fmla="*/ 101659 w 486"/>
              <a:gd name="T75" fmla="*/ 19424 h 505"/>
              <a:gd name="T76" fmla="*/ 86454 w 486"/>
              <a:gd name="T77" fmla="*/ 6300 h 505"/>
              <a:gd name="T78" fmla="*/ 80806 w 486"/>
              <a:gd name="T79" fmla="*/ 4200 h 505"/>
              <a:gd name="T80" fmla="*/ 75158 w 486"/>
              <a:gd name="T81" fmla="*/ 1050 h 505"/>
              <a:gd name="T82" fmla="*/ 60387 w 486"/>
              <a:gd name="T83" fmla="*/ 525 h 505"/>
              <a:gd name="T84" fmla="*/ 30411 w 486"/>
              <a:gd name="T85" fmla="*/ 5775 h 505"/>
              <a:gd name="T86" fmla="*/ 18246 w 486"/>
              <a:gd name="T87" fmla="*/ 11025 h 505"/>
              <a:gd name="T88" fmla="*/ 10427 w 486"/>
              <a:gd name="T89" fmla="*/ 19424 h 505"/>
              <a:gd name="T90" fmla="*/ 8689 w 486"/>
              <a:gd name="T91" fmla="*/ 33598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71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3079 w 166"/>
              <a:gd name="T1" fmla="*/ 96371 h 208"/>
              <a:gd name="T2" fmla="*/ 34753 w 166"/>
              <a:gd name="T3" fmla="*/ 109537 h 208"/>
              <a:gd name="T4" fmla="*/ 37392 w 166"/>
              <a:gd name="T5" fmla="*/ 109010 h 208"/>
              <a:gd name="T6" fmla="*/ 39592 w 166"/>
              <a:gd name="T7" fmla="*/ 107431 h 208"/>
              <a:gd name="T8" fmla="*/ 42671 w 166"/>
              <a:gd name="T9" fmla="*/ 104271 h 208"/>
              <a:gd name="T10" fmla="*/ 45751 w 166"/>
              <a:gd name="T11" fmla="*/ 101111 h 208"/>
              <a:gd name="T12" fmla="*/ 51469 w 166"/>
              <a:gd name="T13" fmla="*/ 92685 h 208"/>
              <a:gd name="T14" fmla="*/ 57188 w 166"/>
              <a:gd name="T15" fmla="*/ 83206 h 208"/>
              <a:gd name="T16" fmla="*/ 67746 w 166"/>
              <a:gd name="T17" fmla="*/ 64248 h 208"/>
              <a:gd name="T18" fmla="*/ 73025 w 166"/>
              <a:gd name="T19" fmla="*/ 54242 h 208"/>
              <a:gd name="T20" fmla="*/ 63347 w 166"/>
              <a:gd name="T21" fmla="*/ 49502 h 208"/>
              <a:gd name="T22" fmla="*/ 55429 w 166"/>
              <a:gd name="T23" fmla="*/ 44236 h 208"/>
              <a:gd name="T24" fmla="*/ 47510 w 166"/>
              <a:gd name="T25" fmla="*/ 38970 h 208"/>
              <a:gd name="T26" fmla="*/ 40912 w 166"/>
              <a:gd name="T27" fmla="*/ 33704 h 208"/>
              <a:gd name="T28" fmla="*/ 37832 w 166"/>
              <a:gd name="T29" fmla="*/ 30544 h 208"/>
              <a:gd name="T30" fmla="*/ 35633 w 166"/>
              <a:gd name="T31" fmla="*/ 27911 h 208"/>
              <a:gd name="T32" fmla="*/ 32993 w 166"/>
              <a:gd name="T33" fmla="*/ 24751 h 208"/>
              <a:gd name="T34" fmla="*/ 31234 w 166"/>
              <a:gd name="T35" fmla="*/ 21065 h 208"/>
              <a:gd name="T36" fmla="*/ 29474 w 166"/>
              <a:gd name="T37" fmla="*/ 17378 h 208"/>
              <a:gd name="T38" fmla="*/ 28154 w 166"/>
              <a:gd name="T39" fmla="*/ 13692 h 208"/>
              <a:gd name="T40" fmla="*/ 27274 w 166"/>
              <a:gd name="T41" fmla="*/ 9479 h 208"/>
              <a:gd name="T42" fmla="*/ 26395 w 166"/>
              <a:gd name="T43" fmla="*/ 5793 h 208"/>
              <a:gd name="T44" fmla="*/ 21995 w 166"/>
              <a:gd name="T45" fmla="*/ 5266 h 208"/>
              <a:gd name="T46" fmla="*/ 18916 w 166"/>
              <a:gd name="T47" fmla="*/ 4213 h 208"/>
              <a:gd name="T48" fmla="*/ 17596 w 166"/>
              <a:gd name="T49" fmla="*/ 2633 h 208"/>
              <a:gd name="T50" fmla="*/ 17156 w 166"/>
              <a:gd name="T51" fmla="*/ 1580 h 208"/>
              <a:gd name="T52" fmla="*/ 16717 w 166"/>
              <a:gd name="T53" fmla="*/ 527 h 208"/>
              <a:gd name="T54" fmla="*/ 15837 w 166"/>
              <a:gd name="T55" fmla="*/ 0 h 208"/>
              <a:gd name="T56" fmla="*/ 14077 w 166"/>
              <a:gd name="T57" fmla="*/ 527 h 208"/>
              <a:gd name="T58" fmla="*/ 11878 w 166"/>
              <a:gd name="T59" fmla="*/ 2633 h 208"/>
              <a:gd name="T60" fmla="*/ 8798 w 166"/>
              <a:gd name="T61" fmla="*/ 5793 h 208"/>
              <a:gd name="T62" fmla="*/ 4839 w 166"/>
              <a:gd name="T63" fmla="*/ 11586 h 208"/>
              <a:gd name="T64" fmla="*/ 3079 w 166"/>
              <a:gd name="T65" fmla="*/ 15272 h 208"/>
              <a:gd name="T66" fmla="*/ 1760 w 166"/>
              <a:gd name="T67" fmla="*/ 19485 h 208"/>
              <a:gd name="T68" fmla="*/ 880 w 166"/>
              <a:gd name="T69" fmla="*/ 23698 h 208"/>
              <a:gd name="T70" fmla="*/ 0 w 166"/>
              <a:gd name="T71" fmla="*/ 28437 h 208"/>
              <a:gd name="T72" fmla="*/ 0 w 166"/>
              <a:gd name="T73" fmla="*/ 31597 h 208"/>
              <a:gd name="T74" fmla="*/ 880 w 166"/>
              <a:gd name="T75" fmla="*/ 34230 h 208"/>
              <a:gd name="T76" fmla="*/ 1320 w 166"/>
              <a:gd name="T77" fmla="*/ 36863 h 208"/>
              <a:gd name="T78" fmla="*/ 2200 w 166"/>
              <a:gd name="T79" fmla="*/ 40023 h 208"/>
              <a:gd name="T80" fmla="*/ 4399 w 166"/>
              <a:gd name="T81" fmla="*/ 45289 h 208"/>
              <a:gd name="T82" fmla="*/ 7478 w 166"/>
              <a:gd name="T83" fmla="*/ 51609 h 208"/>
              <a:gd name="T84" fmla="*/ 9678 w 166"/>
              <a:gd name="T85" fmla="*/ 57402 h 208"/>
              <a:gd name="T86" fmla="*/ 12317 w 166"/>
              <a:gd name="T87" fmla="*/ 63194 h 208"/>
              <a:gd name="T88" fmla="*/ 13197 w 166"/>
              <a:gd name="T89" fmla="*/ 66354 h 208"/>
              <a:gd name="T90" fmla="*/ 14077 w 166"/>
              <a:gd name="T91" fmla="*/ 70040 h 208"/>
              <a:gd name="T92" fmla="*/ 14517 w 166"/>
              <a:gd name="T93" fmla="*/ 73200 h 208"/>
              <a:gd name="T94" fmla="*/ 14517 w 166"/>
              <a:gd name="T95" fmla="*/ 77413 h 208"/>
              <a:gd name="T96" fmla="*/ 14077 w 166"/>
              <a:gd name="T97" fmla="*/ 80573 h 208"/>
              <a:gd name="T98" fmla="*/ 13637 w 166"/>
              <a:gd name="T99" fmla="*/ 83733 h 208"/>
              <a:gd name="T100" fmla="*/ 12317 w 166"/>
              <a:gd name="T101" fmla="*/ 86892 h 208"/>
              <a:gd name="T102" fmla="*/ 10998 w 166"/>
              <a:gd name="T103" fmla="*/ 88999 h 208"/>
              <a:gd name="T104" fmla="*/ 9238 w 166"/>
              <a:gd name="T105" fmla="*/ 91632 h 208"/>
              <a:gd name="T106" fmla="*/ 7478 w 166"/>
              <a:gd name="T107" fmla="*/ 93212 h 208"/>
              <a:gd name="T108" fmla="*/ 4839 w 166"/>
              <a:gd name="T109" fmla="*/ 94792 h 208"/>
              <a:gd name="T110" fmla="*/ 3079 w 166"/>
              <a:gd name="T111" fmla="*/ 96371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72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65165 w 164"/>
              <a:gd name="T1" fmla="*/ 58737 h 104"/>
              <a:gd name="T2" fmla="*/ 57073 w 164"/>
              <a:gd name="T3" fmla="*/ 57607 h 104"/>
              <a:gd name="T4" fmla="*/ 46851 w 164"/>
              <a:gd name="T5" fmla="*/ 54784 h 104"/>
              <a:gd name="T6" fmla="*/ 40888 w 164"/>
              <a:gd name="T7" fmla="*/ 53089 h 104"/>
              <a:gd name="T8" fmla="*/ 34073 w 164"/>
              <a:gd name="T9" fmla="*/ 52524 h 104"/>
              <a:gd name="T10" fmla="*/ 31092 w 164"/>
              <a:gd name="T11" fmla="*/ 52524 h 104"/>
              <a:gd name="T12" fmla="*/ 27259 w 164"/>
              <a:gd name="T13" fmla="*/ 53089 h 104"/>
              <a:gd name="T14" fmla="*/ 23425 w 164"/>
              <a:gd name="T15" fmla="*/ 54219 h 104"/>
              <a:gd name="T16" fmla="*/ 20018 w 164"/>
              <a:gd name="T17" fmla="*/ 55348 h 104"/>
              <a:gd name="T18" fmla="*/ 17463 w 164"/>
              <a:gd name="T19" fmla="*/ 56478 h 104"/>
              <a:gd name="T20" fmla="*/ 14481 w 164"/>
              <a:gd name="T21" fmla="*/ 56478 h 104"/>
              <a:gd name="T22" fmla="*/ 11500 w 164"/>
              <a:gd name="T23" fmla="*/ 55913 h 104"/>
              <a:gd name="T24" fmla="*/ 8092 w 164"/>
              <a:gd name="T25" fmla="*/ 54219 h 104"/>
              <a:gd name="T26" fmla="*/ 4685 w 164"/>
              <a:gd name="T27" fmla="*/ 51960 h 104"/>
              <a:gd name="T28" fmla="*/ 2555 w 164"/>
              <a:gd name="T29" fmla="*/ 49701 h 104"/>
              <a:gd name="T30" fmla="*/ 1278 w 164"/>
              <a:gd name="T31" fmla="*/ 48571 h 104"/>
              <a:gd name="T32" fmla="*/ 426 w 164"/>
              <a:gd name="T33" fmla="*/ 47441 h 104"/>
              <a:gd name="T34" fmla="*/ 0 w 164"/>
              <a:gd name="T35" fmla="*/ 45747 h 104"/>
              <a:gd name="T36" fmla="*/ 0 w 164"/>
              <a:gd name="T37" fmla="*/ 44618 h 104"/>
              <a:gd name="T38" fmla="*/ 0 w 164"/>
              <a:gd name="T39" fmla="*/ 42923 h 104"/>
              <a:gd name="T40" fmla="*/ 426 w 164"/>
              <a:gd name="T41" fmla="*/ 41794 h 104"/>
              <a:gd name="T42" fmla="*/ 1278 w 164"/>
              <a:gd name="T43" fmla="*/ 40099 h 104"/>
              <a:gd name="T44" fmla="*/ 2555 w 164"/>
              <a:gd name="T45" fmla="*/ 39535 h 104"/>
              <a:gd name="T46" fmla="*/ 5111 w 164"/>
              <a:gd name="T47" fmla="*/ 37840 h 104"/>
              <a:gd name="T48" fmla="*/ 8518 w 164"/>
              <a:gd name="T49" fmla="*/ 37275 h 104"/>
              <a:gd name="T50" fmla="*/ 17037 w 164"/>
              <a:gd name="T51" fmla="*/ 37275 h 104"/>
              <a:gd name="T52" fmla="*/ 25981 w 164"/>
              <a:gd name="T53" fmla="*/ 37840 h 104"/>
              <a:gd name="T54" fmla="*/ 29814 w 164"/>
              <a:gd name="T55" fmla="*/ 37840 h 104"/>
              <a:gd name="T56" fmla="*/ 33647 w 164"/>
              <a:gd name="T57" fmla="*/ 37840 h 104"/>
              <a:gd name="T58" fmla="*/ 37055 w 164"/>
              <a:gd name="T59" fmla="*/ 37840 h 104"/>
              <a:gd name="T60" fmla="*/ 40036 w 164"/>
              <a:gd name="T61" fmla="*/ 37840 h 104"/>
              <a:gd name="T62" fmla="*/ 40036 w 164"/>
              <a:gd name="T63" fmla="*/ 31628 h 104"/>
              <a:gd name="T64" fmla="*/ 40036 w 164"/>
              <a:gd name="T65" fmla="*/ 24285 h 104"/>
              <a:gd name="T66" fmla="*/ 40036 w 164"/>
              <a:gd name="T67" fmla="*/ 16379 h 104"/>
              <a:gd name="T68" fmla="*/ 40036 w 164"/>
              <a:gd name="T69" fmla="*/ 10166 h 104"/>
              <a:gd name="T70" fmla="*/ 33647 w 164"/>
              <a:gd name="T71" fmla="*/ 9601 h 104"/>
              <a:gd name="T72" fmla="*/ 28536 w 164"/>
              <a:gd name="T73" fmla="*/ 8472 h 104"/>
              <a:gd name="T74" fmla="*/ 26407 w 164"/>
              <a:gd name="T75" fmla="*/ 7342 h 104"/>
              <a:gd name="T76" fmla="*/ 24277 w 164"/>
              <a:gd name="T77" fmla="*/ 5648 h 104"/>
              <a:gd name="T78" fmla="*/ 22148 w 164"/>
              <a:gd name="T79" fmla="*/ 3389 h 104"/>
              <a:gd name="T80" fmla="*/ 20018 w 164"/>
              <a:gd name="T81" fmla="*/ 0 h 104"/>
              <a:gd name="T82" fmla="*/ 62184 w 164"/>
              <a:gd name="T83" fmla="*/ 0 h 104"/>
              <a:gd name="T84" fmla="*/ 62609 w 164"/>
              <a:gd name="T85" fmla="*/ 3389 h 104"/>
              <a:gd name="T86" fmla="*/ 63035 w 164"/>
              <a:gd name="T87" fmla="*/ 7342 h 104"/>
              <a:gd name="T88" fmla="*/ 63887 w 164"/>
              <a:gd name="T89" fmla="*/ 10731 h 104"/>
              <a:gd name="T90" fmla="*/ 64739 w 164"/>
              <a:gd name="T91" fmla="*/ 14119 h 104"/>
              <a:gd name="T92" fmla="*/ 66443 w 164"/>
              <a:gd name="T93" fmla="*/ 19767 h 104"/>
              <a:gd name="T94" fmla="*/ 67720 w 164"/>
              <a:gd name="T95" fmla="*/ 25980 h 104"/>
              <a:gd name="T96" fmla="*/ 69424 w 164"/>
              <a:gd name="T97" fmla="*/ 30498 h 104"/>
              <a:gd name="T98" fmla="*/ 69850 w 164"/>
              <a:gd name="T99" fmla="*/ 35016 h 104"/>
              <a:gd name="T100" fmla="*/ 69424 w 164"/>
              <a:gd name="T101" fmla="*/ 36711 h 104"/>
              <a:gd name="T102" fmla="*/ 68146 w 164"/>
              <a:gd name="T103" fmla="*/ 38405 h 104"/>
              <a:gd name="T104" fmla="*/ 66869 w 164"/>
              <a:gd name="T105" fmla="*/ 40099 h 104"/>
              <a:gd name="T106" fmla="*/ 65165 w 164"/>
              <a:gd name="T107" fmla="*/ 41229 h 104"/>
              <a:gd name="T108" fmla="*/ 65165 w 164"/>
              <a:gd name="T109" fmla="*/ 5873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3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4063 h 19"/>
              <a:gd name="T2" fmla="*/ 3145 w 53"/>
              <a:gd name="T3" fmla="*/ 39103 h 19"/>
              <a:gd name="T4" fmla="*/ 6290 w 53"/>
              <a:gd name="T5" fmla="*/ 51134 h 19"/>
              <a:gd name="T6" fmla="*/ 9885 w 53"/>
              <a:gd name="T7" fmla="*/ 57150 h 19"/>
              <a:gd name="T8" fmla="*/ 13030 w 53"/>
              <a:gd name="T9" fmla="*/ 57150 h 19"/>
              <a:gd name="T10" fmla="*/ 15726 w 53"/>
              <a:gd name="T11" fmla="*/ 54142 h 19"/>
              <a:gd name="T12" fmla="*/ 18871 w 53"/>
              <a:gd name="T13" fmla="*/ 45118 h 19"/>
              <a:gd name="T14" fmla="*/ 21117 w 53"/>
              <a:gd name="T15" fmla="*/ 36095 h 19"/>
              <a:gd name="T16" fmla="*/ 23813 w 53"/>
              <a:gd name="T17" fmla="*/ 24063 h 19"/>
              <a:gd name="T18" fmla="*/ 21117 w 53"/>
              <a:gd name="T19" fmla="*/ 15039 h 19"/>
              <a:gd name="T20" fmla="*/ 18871 w 53"/>
              <a:gd name="T21" fmla="*/ 6016 h 19"/>
              <a:gd name="T22" fmla="*/ 15726 w 53"/>
              <a:gd name="T23" fmla="*/ 3008 h 19"/>
              <a:gd name="T24" fmla="*/ 13030 w 53"/>
              <a:gd name="T25" fmla="*/ 0 h 19"/>
              <a:gd name="T26" fmla="*/ 9885 w 53"/>
              <a:gd name="T27" fmla="*/ 0 h 19"/>
              <a:gd name="T28" fmla="*/ 6290 w 53"/>
              <a:gd name="T29" fmla="*/ 3008 h 19"/>
              <a:gd name="T30" fmla="*/ 3145 w 53"/>
              <a:gd name="T31" fmla="*/ 9024 h 19"/>
              <a:gd name="T32" fmla="*/ 0 w 53"/>
              <a:gd name="T33" fmla="*/ 24063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4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437 w 80"/>
              <a:gd name="T3" fmla="*/ 19579 h 18"/>
              <a:gd name="T4" fmla="*/ 2183 w 80"/>
              <a:gd name="T5" fmla="*/ 39158 h 18"/>
              <a:gd name="T6" fmla="*/ 3493 w 80"/>
              <a:gd name="T7" fmla="*/ 45684 h 18"/>
              <a:gd name="T8" fmla="*/ 4802 w 80"/>
              <a:gd name="T9" fmla="*/ 52211 h 18"/>
              <a:gd name="T10" fmla="*/ 6548 w 80"/>
              <a:gd name="T11" fmla="*/ 58737 h 18"/>
              <a:gd name="T12" fmla="*/ 8731 w 80"/>
              <a:gd name="T13" fmla="*/ 58737 h 18"/>
              <a:gd name="T14" fmla="*/ 9604 w 80"/>
              <a:gd name="T15" fmla="*/ 48948 h 18"/>
              <a:gd name="T16" fmla="*/ 10478 w 80"/>
              <a:gd name="T17" fmla="*/ 42421 h 18"/>
              <a:gd name="T18" fmla="*/ 11351 w 80"/>
              <a:gd name="T19" fmla="*/ 35895 h 18"/>
              <a:gd name="T20" fmla="*/ 13533 w 80"/>
              <a:gd name="T21" fmla="*/ 32632 h 18"/>
              <a:gd name="T22" fmla="*/ 16589 w 80"/>
              <a:gd name="T23" fmla="*/ 26105 h 18"/>
              <a:gd name="T24" fmla="*/ 20518 w 80"/>
              <a:gd name="T25" fmla="*/ 22842 h 18"/>
              <a:gd name="T26" fmla="*/ 24884 w 80"/>
              <a:gd name="T27" fmla="*/ 22842 h 18"/>
              <a:gd name="T28" fmla="*/ 28813 w 80"/>
              <a:gd name="T29" fmla="*/ 19579 h 18"/>
              <a:gd name="T30" fmla="*/ 30559 w 80"/>
              <a:gd name="T31" fmla="*/ 16316 h 18"/>
              <a:gd name="T32" fmla="*/ 32306 w 80"/>
              <a:gd name="T33" fmla="*/ 13053 h 18"/>
              <a:gd name="T34" fmla="*/ 33615 w 80"/>
              <a:gd name="T35" fmla="*/ 6526 h 18"/>
              <a:gd name="T36" fmla="*/ 34925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5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9663 w 46"/>
              <a:gd name="T1" fmla="*/ 0 h 27"/>
              <a:gd name="T2" fmla="*/ 0 w 46"/>
              <a:gd name="T3" fmla="*/ 40217 h 27"/>
              <a:gd name="T4" fmla="*/ 4348 w 46"/>
              <a:gd name="T5" fmla="*/ 49154 h 27"/>
              <a:gd name="T6" fmla="*/ 7730 w 46"/>
              <a:gd name="T7" fmla="*/ 55856 h 27"/>
              <a:gd name="T8" fmla="*/ 11113 w 46"/>
              <a:gd name="T9" fmla="*/ 60325 h 27"/>
              <a:gd name="T10" fmla="*/ 14011 w 46"/>
              <a:gd name="T11" fmla="*/ 60325 h 27"/>
              <a:gd name="T12" fmla="*/ 15944 w 46"/>
              <a:gd name="T13" fmla="*/ 60325 h 27"/>
              <a:gd name="T14" fmla="*/ 17877 w 46"/>
              <a:gd name="T15" fmla="*/ 55856 h 27"/>
              <a:gd name="T16" fmla="*/ 20292 w 46"/>
              <a:gd name="T17" fmla="*/ 49154 h 27"/>
              <a:gd name="T18" fmla="*/ 22225 w 46"/>
              <a:gd name="T19" fmla="*/ 40217 h 27"/>
              <a:gd name="T20" fmla="*/ 19809 w 46"/>
              <a:gd name="T21" fmla="*/ 35748 h 27"/>
              <a:gd name="T22" fmla="*/ 15944 w 46"/>
              <a:gd name="T23" fmla="*/ 24577 h 27"/>
              <a:gd name="T24" fmla="*/ 12562 w 46"/>
              <a:gd name="T25" fmla="*/ 11171 h 27"/>
              <a:gd name="T26" fmla="*/ 9663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6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15993 w 54"/>
              <a:gd name="T1" fmla="*/ 0 h 39"/>
              <a:gd name="T2" fmla="*/ 9407 w 54"/>
              <a:gd name="T3" fmla="*/ 6187 h 39"/>
              <a:gd name="T4" fmla="*/ 4704 w 54"/>
              <a:gd name="T5" fmla="*/ 15468 h 39"/>
              <a:gd name="T6" fmla="*/ 2822 w 54"/>
              <a:gd name="T7" fmla="*/ 20108 h 39"/>
              <a:gd name="T8" fmla="*/ 1881 w 54"/>
              <a:gd name="T9" fmla="*/ 24749 h 39"/>
              <a:gd name="T10" fmla="*/ 941 w 54"/>
              <a:gd name="T11" fmla="*/ 30936 h 39"/>
              <a:gd name="T12" fmla="*/ 0 w 54"/>
              <a:gd name="T13" fmla="*/ 37123 h 39"/>
              <a:gd name="T14" fmla="*/ 941 w 54"/>
              <a:gd name="T15" fmla="*/ 43310 h 39"/>
              <a:gd name="T16" fmla="*/ 1411 w 54"/>
              <a:gd name="T17" fmla="*/ 49497 h 39"/>
              <a:gd name="T18" fmla="*/ 2352 w 54"/>
              <a:gd name="T19" fmla="*/ 54138 h 39"/>
              <a:gd name="T20" fmla="*/ 3763 w 54"/>
              <a:gd name="T21" fmla="*/ 57231 h 39"/>
              <a:gd name="T22" fmla="*/ 5174 w 54"/>
              <a:gd name="T23" fmla="*/ 58778 h 39"/>
              <a:gd name="T24" fmla="*/ 7526 w 54"/>
              <a:gd name="T25" fmla="*/ 60325 h 39"/>
              <a:gd name="T26" fmla="*/ 9407 w 54"/>
              <a:gd name="T27" fmla="*/ 60325 h 39"/>
              <a:gd name="T28" fmla="*/ 11759 w 54"/>
              <a:gd name="T29" fmla="*/ 60325 h 39"/>
              <a:gd name="T30" fmla="*/ 14111 w 54"/>
              <a:gd name="T31" fmla="*/ 58778 h 39"/>
              <a:gd name="T32" fmla="*/ 15993 w 54"/>
              <a:gd name="T33" fmla="*/ 57231 h 39"/>
              <a:gd name="T34" fmla="*/ 18344 w 54"/>
              <a:gd name="T35" fmla="*/ 54138 h 39"/>
              <a:gd name="T36" fmla="*/ 20226 w 54"/>
              <a:gd name="T37" fmla="*/ 51044 h 39"/>
              <a:gd name="T38" fmla="*/ 22107 w 54"/>
              <a:gd name="T39" fmla="*/ 46404 h 39"/>
              <a:gd name="T40" fmla="*/ 23519 w 54"/>
              <a:gd name="T41" fmla="*/ 40217 h 39"/>
              <a:gd name="T42" fmla="*/ 24459 w 54"/>
              <a:gd name="T43" fmla="*/ 34029 h 39"/>
              <a:gd name="T44" fmla="*/ 25400 w 54"/>
              <a:gd name="T45" fmla="*/ 27842 h 39"/>
              <a:gd name="T46" fmla="*/ 23989 w 54"/>
              <a:gd name="T47" fmla="*/ 26296 h 39"/>
              <a:gd name="T48" fmla="*/ 22578 w 54"/>
              <a:gd name="T49" fmla="*/ 24749 h 39"/>
              <a:gd name="T50" fmla="*/ 20696 w 54"/>
              <a:gd name="T51" fmla="*/ 21655 h 39"/>
              <a:gd name="T52" fmla="*/ 19756 w 54"/>
              <a:gd name="T53" fmla="*/ 17015 h 39"/>
              <a:gd name="T54" fmla="*/ 18344 w 54"/>
              <a:gd name="T55" fmla="*/ 12374 h 39"/>
              <a:gd name="T56" fmla="*/ 17404 w 54"/>
              <a:gd name="T57" fmla="*/ 7734 h 39"/>
              <a:gd name="T58" fmla="*/ 15993 w 54"/>
              <a:gd name="T59" fmla="*/ 3094 h 39"/>
              <a:gd name="T60" fmla="*/ 15993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7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43075 h 15"/>
              <a:gd name="T2" fmla="*/ 4763 w 60"/>
              <a:gd name="T3" fmla="*/ 50906 h 15"/>
              <a:gd name="T4" fmla="*/ 8573 w 60"/>
              <a:gd name="T5" fmla="*/ 54822 h 15"/>
              <a:gd name="T6" fmla="*/ 12859 w 60"/>
              <a:gd name="T7" fmla="*/ 58738 h 15"/>
              <a:gd name="T8" fmla="*/ 16669 w 60"/>
              <a:gd name="T9" fmla="*/ 58738 h 15"/>
              <a:gd name="T10" fmla="*/ 19526 w 60"/>
              <a:gd name="T11" fmla="*/ 54822 h 15"/>
              <a:gd name="T12" fmla="*/ 22860 w 60"/>
              <a:gd name="T13" fmla="*/ 46990 h 15"/>
              <a:gd name="T14" fmla="*/ 26194 w 60"/>
              <a:gd name="T15" fmla="*/ 35243 h 15"/>
              <a:gd name="T16" fmla="*/ 28575 w 60"/>
              <a:gd name="T17" fmla="*/ 19579 h 15"/>
              <a:gd name="T18" fmla="*/ 27146 w 60"/>
              <a:gd name="T19" fmla="*/ 11748 h 15"/>
              <a:gd name="T20" fmla="*/ 25718 w 60"/>
              <a:gd name="T21" fmla="*/ 0 h 15"/>
              <a:gd name="T22" fmla="*/ 24289 w 60"/>
              <a:gd name="T23" fmla="*/ 0 h 15"/>
              <a:gd name="T24" fmla="*/ 22384 w 60"/>
              <a:gd name="T25" fmla="*/ 0 h 15"/>
              <a:gd name="T26" fmla="*/ 19050 w 60"/>
              <a:gd name="T27" fmla="*/ 0 h 15"/>
              <a:gd name="T28" fmla="*/ 15716 w 60"/>
              <a:gd name="T29" fmla="*/ 11748 h 15"/>
              <a:gd name="T30" fmla="*/ 11430 w 60"/>
              <a:gd name="T31" fmla="*/ 23495 h 15"/>
              <a:gd name="T32" fmla="*/ 7620 w 60"/>
              <a:gd name="T33" fmla="*/ 31327 h 15"/>
              <a:gd name="T34" fmla="*/ 3334 w 60"/>
              <a:gd name="T35" fmla="*/ 39159 h 15"/>
              <a:gd name="T36" fmla="*/ 0 w 60"/>
              <a:gd name="T37" fmla="*/ 43075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8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16880 w 79"/>
              <a:gd name="T1" fmla="*/ 0 h 32"/>
              <a:gd name="T2" fmla="*/ 14348 w 79"/>
              <a:gd name="T3" fmla="*/ 1786 h 32"/>
              <a:gd name="T4" fmla="*/ 12660 w 79"/>
              <a:gd name="T5" fmla="*/ 3572 h 32"/>
              <a:gd name="T6" fmla="*/ 10550 w 79"/>
              <a:gd name="T7" fmla="*/ 7144 h 32"/>
              <a:gd name="T8" fmla="*/ 8440 w 79"/>
              <a:gd name="T9" fmla="*/ 10716 h 32"/>
              <a:gd name="T10" fmla="*/ 6330 w 79"/>
              <a:gd name="T11" fmla="*/ 16073 h 32"/>
              <a:gd name="T12" fmla="*/ 4220 w 79"/>
              <a:gd name="T13" fmla="*/ 19645 h 32"/>
              <a:gd name="T14" fmla="*/ 2110 w 79"/>
              <a:gd name="T15" fmla="*/ 21431 h 32"/>
              <a:gd name="T16" fmla="*/ 0 w 79"/>
              <a:gd name="T17" fmla="*/ 23217 h 32"/>
              <a:gd name="T18" fmla="*/ 2110 w 79"/>
              <a:gd name="T19" fmla="*/ 37505 h 32"/>
              <a:gd name="T20" fmla="*/ 4220 w 79"/>
              <a:gd name="T21" fmla="*/ 46434 h 32"/>
              <a:gd name="T22" fmla="*/ 5064 w 79"/>
              <a:gd name="T23" fmla="*/ 51792 h 32"/>
              <a:gd name="T24" fmla="*/ 6330 w 79"/>
              <a:gd name="T25" fmla="*/ 55364 h 32"/>
              <a:gd name="T26" fmla="*/ 7596 w 79"/>
              <a:gd name="T27" fmla="*/ 55364 h 32"/>
              <a:gd name="T28" fmla="*/ 8440 w 79"/>
              <a:gd name="T29" fmla="*/ 57150 h 32"/>
              <a:gd name="T30" fmla="*/ 11394 w 79"/>
              <a:gd name="T31" fmla="*/ 55364 h 32"/>
              <a:gd name="T32" fmla="*/ 14348 w 79"/>
              <a:gd name="T33" fmla="*/ 53578 h 32"/>
              <a:gd name="T34" fmla="*/ 17302 w 79"/>
              <a:gd name="T35" fmla="*/ 48220 h 32"/>
              <a:gd name="T36" fmla="*/ 20256 w 79"/>
              <a:gd name="T37" fmla="*/ 42863 h 32"/>
              <a:gd name="T38" fmla="*/ 26164 w 79"/>
              <a:gd name="T39" fmla="*/ 32147 h 32"/>
              <a:gd name="T40" fmla="*/ 33338 w 79"/>
              <a:gd name="T41" fmla="*/ 23217 h 32"/>
              <a:gd name="T42" fmla="*/ 28274 w 79"/>
              <a:gd name="T43" fmla="*/ 10716 h 32"/>
              <a:gd name="T44" fmla="*/ 24476 w 79"/>
              <a:gd name="T45" fmla="*/ 3572 h 32"/>
              <a:gd name="T46" fmla="*/ 20678 w 79"/>
              <a:gd name="T47" fmla="*/ 1786 h 32"/>
              <a:gd name="T48" fmla="*/ 16880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79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15082 w 66"/>
              <a:gd name="T1" fmla="*/ 0 h 19"/>
              <a:gd name="T2" fmla="*/ 11425 w 66"/>
              <a:gd name="T3" fmla="*/ 3008 h 19"/>
              <a:gd name="T4" fmla="*/ 8683 w 66"/>
              <a:gd name="T5" fmla="*/ 6016 h 19"/>
              <a:gd name="T6" fmla="*/ 5941 w 66"/>
              <a:gd name="T7" fmla="*/ 12032 h 19"/>
              <a:gd name="T8" fmla="*/ 4113 w 66"/>
              <a:gd name="T9" fmla="*/ 21055 h 19"/>
              <a:gd name="T10" fmla="*/ 2285 w 66"/>
              <a:gd name="T11" fmla="*/ 33087 h 19"/>
              <a:gd name="T12" fmla="*/ 914 w 66"/>
              <a:gd name="T13" fmla="*/ 42111 h 19"/>
              <a:gd name="T14" fmla="*/ 0 w 66"/>
              <a:gd name="T15" fmla="*/ 51134 h 19"/>
              <a:gd name="T16" fmla="*/ 0 w 66"/>
              <a:gd name="T17" fmla="*/ 57150 h 19"/>
              <a:gd name="T18" fmla="*/ 8683 w 66"/>
              <a:gd name="T19" fmla="*/ 57150 h 19"/>
              <a:gd name="T20" fmla="*/ 17367 w 66"/>
              <a:gd name="T21" fmla="*/ 57150 h 19"/>
              <a:gd name="T22" fmla="*/ 21023 w 66"/>
              <a:gd name="T23" fmla="*/ 54142 h 19"/>
              <a:gd name="T24" fmla="*/ 24679 w 66"/>
              <a:gd name="T25" fmla="*/ 51134 h 19"/>
              <a:gd name="T26" fmla="*/ 27878 w 66"/>
              <a:gd name="T27" fmla="*/ 45118 h 19"/>
              <a:gd name="T28" fmla="*/ 30163 w 66"/>
              <a:gd name="T29" fmla="*/ 39103 h 19"/>
              <a:gd name="T30" fmla="*/ 26050 w 66"/>
              <a:gd name="T31" fmla="*/ 24063 h 19"/>
              <a:gd name="T32" fmla="*/ 22851 w 66"/>
              <a:gd name="T33" fmla="*/ 12032 h 19"/>
              <a:gd name="T34" fmla="*/ 19195 w 66"/>
              <a:gd name="T35" fmla="*/ 3008 h 19"/>
              <a:gd name="T36" fmla="*/ 15082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0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6230 w 53"/>
              <a:gd name="T1" fmla="*/ 0 h 80"/>
              <a:gd name="T2" fmla="*/ 3834 w 53"/>
              <a:gd name="T3" fmla="*/ 3770 h 80"/>
              <a:gd name="T4" fmla="*/ 1917 w 53"/>
              <a:gd name="T5" fmla="*/ 7541 h 80"/>
              <a:gd name="T6" fmla="*/ 958 w 53"/>
              <a:gd name="T7" fmla="*/ 9803 h 80"/>
              <a:gd name="T8" fmla="*/ 479 w 53"/>
              <a:gd name="T9" fmla="*/ 12065 h 80"/>
              <a:gd name="T10" fmla="*/ 0 w 53"/>
              <a:gd name="T11" fmla="*/ 15081 h 80"/>
              <a:gd name="T12" fmla="*/ 0 w 53"/>
              <a:gd name="T13" fmla="*/ 18852 h 80"/>
              <a:gd name="T14" fmla="*/ 0 w 53"/>
              <a:gd name="T15" fmla="*/ 22622 h 80"/>
              <a:gd name="T16" fmla="*/ 958 w 53"/>
              <a:gd name="T17" fmla="*/ 29408 h 80"/>
              <a:gd name="T18" fmla="*/ 2875 w 53"/>
              <a:gd name="T19" fmla="*/ 36195 h 80"/>
              <a:gd name="T20" fmla="*/ 4313 w 53"/>
              <a:gd name="T21" fmla="*/ 42982 h 80"/>
              <a:gd name="T22" fmla="*/ 6230 w 53"/>
              <a:gd name="T23" fmla="*/ 49768 h 80"/>
              <a:gd name="T24" fmla="*/ 9585 w 53"/>
              <a:gd name="T25" fmla="*/ 55047 h 80"/>
              <a:gd name="T26" fmla="*/ 10543 w 53"/>
              <a:gd name="T27" fmla="*/ 57309 h 80"/>
              <a:gd name="T28" fmla="*/ 12460 w 53"/>
              <a:gd name="T29" fmla="*/ 58817 h 80"/>
              <a:gd name="T30" fmla="*/ 14377 w 53"/>
              <a:gd name="T31" fmla="*/ 60325 h 80"/>
              <a:gd name="T32" fmla="*/ 15815 w 53"/>
              <a:gd name="T33" fmla="*/ 60325 h 80"/>
              <a:gd name="T34" fmla="*/ 17253 w 53"/>
              <a:gd name="T35" fmla="*/ 59571 h 80"/>
              <a:gd name="T36" fmla="*/ 18211 w 53"/>
              <a:gd name="T37" fmla="*/ 58817 h 80"/>
              <a:gd name="T38" fmla="*/ 20128 w 53"/>
              <a:gd name="T39" fmla="*/ 57309 h 80"/>
              <a:gd name="T40" fmla="*/ 21566 w 53"/>
              <a:gd name="T41" fmla="*/ 55047 h 80"/>
              <a:gd name="T42" fmla="*/ 23004 w 53"/>
              <a:gd name="T43" fmla="*/ 52784 h 80"/>
              <a:gd name="T44" fmla="*/ 24442 w 53"/>
              <a:gd name="T45" fmla="*/ 50522 h 80"/>
              <a:gd name="T46" fmla="*/ 25400 w 53"/>
              <a:gd name="T47" fmla="*/ 48260 h 80"/>
              <a:gd name="T48" fmla="*/ 25400 w 53"/>
              <a:gd name="T49" fmla="*/ 46752 h 80"/>
              <a:gd name="T50" fmla="*/ 24921 w 53"/>
              <a:gd name="T51" fmla="*/ 40719 h 80"/>
              <a:gd name="T52" fmla="*/ 23483 w 53"/>
              <a:gd name="T53" fmla="*/ 35441 h 80"/>
              <a:gd name="T54" fmla="*/ 22045 w 53"/>
              <a:gd name="T55" fmla="*/ 31671 h 80"/>
              <a:gd name="T56" fmla="*/ 20608 w 53"/>
              <a:gd name="T57" fmla="*/ 27900 h 80"/>
              <a:gd name="T58" fmla="*/ 19170 w 53"/>
              <a:gd name="T59" fmla="*/ 24130 h 80"/>
              <a:gd name="T60" fmla="*/ 17253 w 53"/>
              <a:gd name="T61" fmla="*/ 20360 h 80"/>
              <a:gd name="T62" fmla="*/ 16294 w 53"/>
              <a:gd name="T63" fmla="*/ 15081 h 80"/>
              <a:gd name="T64" fmla="*/ 15815 w 53"/>
              <a:gd name="T65" fmla="*/ 9049 h 80"/>
              <a:gd name="T66" fmla="*/ 15815 w 53"/>
              <a:gd name="T67" fmla="*/ 7541 h 80"/>
              <a:gd name="T68" fmla="*/ 14857 w 53"/>
              <a:gd name="T69" fmla="*/ 6033 h 80"/>
              <a:gd name="T70" fmla="*/ 13898 w 53"/>
              <a:gd name="T71" fmla="*/ 4524 h 80"/>
              <a:gd name="T72" fmla="*/ 11981 w 53"/>
              <a:gd name="T73" fmla="*/ 3016 h 80"/>
              <a:gd name="T74" fmla="*/ 9106 w 53"/>
              <a:gd name="T75" fmla="*/ 754 h 80"/>
              <a:gd name="T76" fmla="*/ 6230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1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53975 h 43"/>
              <a:gd name="T2" fmla="*/ 11500 w 41"/>
              <a:gd name="T3" fmla="*/ 53975 h 43"/>
              <a:gd name="T4" fmla="*/ 17463 w 41"/>
              <a:gd name="T5" fmla="*/ 30126 h 43"/>
              <a:gd name="T6" fmla="*/ 16185 w 41"/>
              <a:gd name="T7" fmla="*/ 15063 h 43"/>
              <a:gd name="T8" fmla="*/ 14482 w 41"/>
              <a:gd name="T9" fmla="*/ 0 h 43"/>
              <a:gd name="T10" fmla="*/ 11500 w 41"/>
              <a:gd name="T11" fmla="*/ 5021 h 43"/>
              <a:gd name="T12" fmla="*/ 8519 w 41"/>
              <a:gd name="T13" fmla="*/ 11297 h 43"/>
              <a:gd name="T14" fmla="*/ 6389 w 41"/>
              <a:gd name="T15" fmla="*/ 17573 h 43"/>
              <a:gd name="T16" fmla="*/ 4259 w 41"/>
              <a:gd name="T17" fmla="*/ 23849 h 43"/>
              <a:gd name="T18" fmla="*/ 2556 w 41"/>
              <a:gd name="T19" fmla="*/ 30126 h 43"/>
              <a:gd name="T20" fmla="*/ 1278 w 41"/>
              <a:gd name="T21" fmla="*/ 37657 h 43"/>
              <a:gd name="T22" fmla="*/ 426 w 41"/>
              <a:gd name="T23" fmla="*/ 46444 h 43"/>
              <a:gd name="T24" fmla="*/ 0 w 41"/>
              <a:gd name="T25" fmla="*/ 53975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2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7937 w 20"/>
              <a:gd name="T1" fmla="*/ 0 h 24"/>
              <a:gd name="T2" fmla="*/ 0 w 20"/>
              <a:gd name="T3" fmla="*/ 0 h 24"/>
              <a:gd name="T4" fmla="*/ 397 w 20"/>
              <a:gd name="T5" fmla="*/ 12237 h 24"/>
              <a:gd name="T6" fmla="*/ 794 w 20"/>
              <a:gd name="T7" fmla="*/ 22026 h 24"/>
              <a:gd name="T8" fmla="*/ 1587 w 20"/>
              <a:gd name="T9" fmla="*/ 31816 h 24"/>
              <a:gd name="T10" fmla="*/ 2778 w 20"/>
              <a:gd name="T11" fmla="*/ 41605 h 24"/>
              <a:gd name="T12" fmla="*/ 3969 w 20"/>
              <a:gd name="T13" fmla="*/ 48948 h 24"/>
              <a:gd name="T14" fmla="*/ 5556 w 20"/>
              <a:gd name="T15" fmla="*/ 53842 h 24"/>
              <a:gd name="T16" fmla="*/ 6746 w 20"/>
              <a:gd name="T17" fmla="*/ 58737 h 24"/>
              <a:gd name="T18" fmla="*/ 7937 w 20"/>
              <a:gd name="T19" fmla="*/ 58737 h 24"/>
              <a:gd name="T20" fmla="*/ 793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3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16835 h 43"/>
              <a:gd name="T2" fmla="*/ 896 w 39"/>
              <a:gd name="T3" fmla="*/ 23849 h 43"/>
              <a:gd name="T4" fmla="*/ 2687 w 39"/>
              <a:gd name="T5" fmla="*/ 30864 h 43"/>
              <a:gd name="T6" fmla="*/ 5373 w 39"/>
              <a:gd name="T7" fmla="*/ 37878 h 43"/>
              <a:gd name="T8" fmla="*/ 7164 w 39"/>
              <a:gd name="T9" fmla="*/ 44893 h 43"/>
              <a:gd name="T10" fmla="*/ 10299 w 39"/>
              <a:gd name="T11" fmla="*/ 51908 h 43"/>
              <a:gd name="T12" fmla="*/ 12538 w 39"/>
              <a:gd name="T13" fmla="*/ 56116 h 43"/>
              <a:gd name="T14" fmla="*/ 15224 w 39"/>
              <a:gd name="T15" fmla="*/ 60325 h 43"/>
              <a:gd name="T16" fmla="*/ 17463 w 39"/>
              <a:gd name="T17" fmla="*/ 60325 h 43"/>
              <a:gd name="T18" fmla="*/ 17015 w 39"/>
              <a:gd name="T19" fmla="*/ 44893 h 43"/>
              <a:gd name="T20" fmla="*/ 16120 w 39"/>
              <a:gd name="T21" fmla="*/ 26655 h 43"/>
              <a:gd name="T22" fmla="*/ 15224 w 39"/>
              <a:gd name="T23" fmla="*/ 11223 h 43"/>
              <a:gd name="T24" fmla="*/ 14329 w 39"/>
              <a:gd name="T25" fmla="*/ 0 h 43"/>
              <a:gd name="T26" fmla="*/ 8508 w 39"/>
              <a:gd name="T27" fmla="*/ 4209 h 43"/>
              <a:gd name="T28" fmla="*/ 2687 w 39"/>
              <a:gd name="T29" fmla="*/ 8417 h 43"/>
              <a:gd name="T30" fmla="*/ 0 w 39"/>
              <a:gd name="T31" fmla="*/ 16835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4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14230 w 55"/>
              <a:gd name="T1" fmla="*/ 24632 h 62"/>
              <a:gd name="T2" fmla="*/ 3926 w 55"/>
              <a:gd name="T3" fmla="*/ 0 h 62"/>
              <a:gd name="T4" fmla="*/ 1963 w 55"/>
              <a:gd name="T5" fmla="*/ 4737 h 62"/>
              <a:gd name="T6" fmla="*/ 491 w 55"/>
              <a:gd name="T7" fmla="*/ 10421 h 62"/>
              <a:gd name="T8" fmla="*/ 0 w 55"/>
              <a:gd name="T9" fmla="*/ 15158 h 62"/>
              <a:gd name="T10" fmla="*/ 0 w 55"/>
              <a:gd name="T11" fmla="*/ 19895 h 62"/>
              <a:gd name="T12" fmla="*/ 981 w 55"/>
              <a:gd name="T13" fmla="*/ 24632 h 62"/>
              <a:gd name="T14" fmla="*/ 1963 w 55"/>
              <a:gd name="T15" fmla="*/ 29369 h 62"/>
              <a:gd name="T16" fmla="*/ 3926 w 55"/>
              <a:gd name="T17" fmla="*/ 34106 h 62"/>
              <a:gd name="T18" fmla="*/ 5398 w 55"/>
              <a:gd name="T19" fmla="*/ 38843 h 62"/>
              <a:gd name="T20" fmla="*/ 7851 w 55"/>
              <a:gd name="T21" fmla="*/ 42632 h 62"/>
              <a:gd name="T22" fmla="*/ 10305 w 55"/>
              <a:gd name="T23" fmla="*/ 46422 h 62"/>
              <a:gd name="T24" fmla="*/ 12758 w 55"/>
              <a:gd name="T25" fmla="*/ 50212 h 62"/>
              <a:gd name="T26" fmla="*/ 16193 w 55"/>
              <a:gd name="T27" fmla="*/ 53054 h 62"/>
              <a:gd name="T28" fmla="*/ 18646 w 55"/>
              <a:gd name="T29" fmla="*/ 54948 h 62"/>
              <a:gd name="T30" fmla="*/ 21590 w 55"/>
              <a:gd name="T31" fmla="*/ 56843 h 62"/>
              <a:gd name="T32" fmla="*/ 24044 w 55"/>
              <a:gd name="T33" fmla="*/ 57791 h 62"/>
              <a:gd name="T34" fmla="*/ 26988 w 55"/>
              <a:gd name="T35" fmla="*/ 58738 h 62"/>
              <a:gd name="T36" fmla="*/ 26497 w 55"/>
              <a:gd name="T37" fmla="*/ 50212 h 62"/>
              <a:gd name="T38" fmla="*/ 26007 w 55"/>
              <a:gd name="T39" fmla="*/ 43580 h 62"/>
              <a:gd name="T40" fmla="*/ 24044 w 55"/>
              <a:gd name="T41" fmla="*/ 37895 h 62"/>
              <a:gd name="T42" fmla="*/ 22572 w 55"/>
              <a:gd name="T43" fmla="*/ 33159 h 62"/>
              <a:gd name="T44" fmla="*/ 21100 w 55"/>
              <a:gd name="T45" fmla="*/ 29369 h 62"/>
              <a:gd name="T46" fmla="*/ 18646 w 55"/>
              <a:gd name="T47" fmla="*/ 26527 h 62"/>
              <a:gd name="T48" fmla="*/ 16193 w 55"/>
              <a:gd name="T49" fmla="*/ 24632 h 62"/>
              <a:gd name="T50" fmla="*/ 14230 w 55"/>
              <a:gd name="T51" fmla="*/ 24632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5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10477 w 35"/>
              <a:gd name="T1" fmla="*/ 17758 h 43"/>
              <a:gd name="T2" fmla="*/ 2222 w 35"/>
              <a:gd name="T3" fmla="*/ 0 h 43"/>
              <a:gd name="T4" fmla="*/ 1270 w 35"/>
              <a:gd name="T5" fmla="*/ 10928 h 43"/>
              <a:gd name="T6" fmla="*/ 0 w 35"/>
              <a:gd name="T7" fmla="*/ 25954 h 43"/>
              <a:gd name="T8" fmla="*/ 635 w 35"/>
              <a:gd name="T9" fmla="*/ 38247 h 43"/>
              <a:gd name="T10" fmla="*/ 1587 w 35"/>
              <a:gd name="T11" fmla="*/ 49175 h 43"/>
              <a:gd name="T12" fmla="*/ 1905 w 35"/>
              <a:gd name="T13" fmla="*/ 53273 h 43"/>
              <a:gd name="T14" fmla="*/ 2540 w 35"/>
              <a:gd name="T15" fmla="*/ 56005 h 43"/>
              <a:gd name="T16" fmla="*/ 3492 w 35"/>
              <a:gd name="T17" fmla="*/ 58737 h 43"/>
              <a:gd name="T18" fmla="*/ 4445 w 35"/>
              <a:gd name="T19" fmla="*/ 58737 h 43"/>
              <a:gd name="T20" fmla="*/ 5715 w 35"/>
              <a:gd name="T21" fmla="*/ 58737 h 43"/>
              <a:gd name="T22" fmla="*/ 6985 w 35"/>
              <a:gd name="T23" fmla="*/ 57371 h 43"/>
              <a:gd name="T24" fmla="*/ 8255 w 35"/>
              <a:gd name="T25" fmla="*/ 56005 h 43"/>
              <a:gd name="T26" fmla="*/ 8890 w 35"/>
              <a:gd name="T27" fmla="*/ 53273 h 43"/>
              <a:gd name="T28" fmla="*/ 9842 w 35"/>
              <a:gd name="T29" fmla="*/ 47809 h 43"/>
              <a:gd name="T30" fmla="*/ 10477 w 35"/>
              <a:gd name="T31" fmla="*/ 40979 h 43"/>
              <a:gd name="T32" fmla="*/ 11112 w 35"/>
              <a:gd name="T33" fmla="*/ 27320 h 43"/>
              <a:gd name="T34" fmla="*/ 10477 w 35"/>
              <a:gd name="T35" fmla="*/ 17758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6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20637 w 53"/>
              <a:gd name="T1" fmla="*/ 0 h 21"/>
              <a:gd name="T2" fmla="*/ 15964 w 53"/>
              <a:gd name="T3" fmla="*/ 2646 h 21"/>
              <a:gd name="T4" fmla="*/ 12460 w 53"/>
              <a:gd name="T5" fmla="*/ 5292 h 21"/>
              <a:gd name="T6" fmla="*/ 9734 w 53"/>
              <a:gd name="T7" fmla="*/ 13229 h 21"/>
              <a:gd name="T8" fmla="*/ 8177 w 53"/>
              <a:gd name="T9" fmla="*/ 18521 h 21"/>
              <a:gd name="T10" fmla="*/ 6619 w 53"/>
              <a:gd name="T11" fmla="*/ 26459 h 21"/>
              <a:gd name="T12" fmla="*/ 5062 w 53"/>
              <a:gd name="T13" fmla="*/ 34396 h 21"/>
              <a:gd name="T14" fmla="*/ 3115 w 53"/>
              <a:gd name="T15" fmla="*/ 42334 h 21"/>
              <a:gd name="T16" fmla="*/ 0 w 53"/>
              <a:gd name="T17" fmla="*/ 47625 h 21"/>
              <a:gd name="T18" fmla="*/ 1947 w 53"/>
              <a:gd name="T19" fmla="*/ 52917 h 21"/>
              <a:gd name="T20" fmla="*/ 4283 w 53"/>
              <a:gd name="T21" fmla="*/ 55563 h 21"/>
              <a:gd name="T22" fmla="*/ 6619 w 53"/>
              <a:gd name="T23" fmla="*/ 55563 h 21"/>
              <a:gd name="T24" fmla="*/ 9345 w 53"/>
              <a:gd name="T25" fmla="*/ 55563 h 21"/>
              <a:gd name="T26" fmla="*/ 14796 w 53"/>
              <a:gd name="T27" fmla="*/ 50271 h 21"/>
              <a:gd name="T28" fmla="*/ 20637 w 53"/>
              <a:gd name="T29" fmla="*/ 47625 h 21"/>
              <a:gd name="T30" fmla="*/ 2063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7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8935 w 43"/>
              <a:gd name="T1" fmla="*/ 0 h 38"/>
              <a:gd name="T2" fmla="*/ 4873 w 43"/>
              <a:gd name="T3" fmla="*/ 0 h 38"/>
              <a:gd name="T4" fmla="*/ 812 w 43"/>
              <a:gd name="T5" fmla="*/ 0 h 38"/>
              <a:gd name="T6" fmla="*/ 406 w 43"/>
              <a:gd name="T7" fmla="*/ 0 h 38"/>
              <a:gd name="T8" fmla="*/ 0 w 43"/>
              <a:gd name="T9" fmla="*/ 1504 h 38"/>
              <a:gd name="T10" fmla="*/ 0 w 43"/>
              <a:gd name="T11" fmla="*/ 4512 h 38"/>
              <a:gd name="T12" fmla="*/ 0 w 43"/>
              <a:gd name="T13" fmla="*/ 9024 h 38"/>
              <a:gd name="T14" fmla="*/ 406 w 43"/>
              <a:gd name="T15" fmla="*/ 15039 h 38"/>
              <a:gd name="T16" fmla="*/ 812 w 43"/>
              <a:gd name="T17" fmla="*/ 18047 h 38"/>
              <a:gd name="T18" fmla="*/ 1218 w 43"/>
              <a:gd name="T19" fmla="*/ 27071 h 38"/>
              <a:gd name="T20" fmla="*/ 2031 w 43"/>
              <a:gd name="T21" fmla="*/ 37599 h 38"/>
              <a:gd name="T22" fmla="*/ 4061 w 43"/>
              <a:gd name="T23" fmla="*/ 45118 h 38"/>
              <a:gd name="T24" fmla="*/ 6092 w 43"/>
              <a:gd name="T25" fmla="*/ 51134 h 38"/>
              <a:gd name="T26" fmla="*/ 8528 w 43"/>
              <a:gd name="T27" fmla="*/ 55646 h 38"/>
              <a:gd name="T28" fmla="*/ 10965 w 43"/>
              <a:gd name="T29" fmla="*/ 57150 h 38"/>
              <a:gd name="T30" fmla="*/ 14214 w 43"/>
              <a:gd name="T31" fmla="*/ 57150 h 38"/>
              <a:gd name="T32" fmla="*/ 17463 w 43"/>
              <a:gd name="T33" fmla="*/ 55646 h 38"/>
              <a:gd name="T34" fmla="*/ 16245 w 43"/>
              <a:gd name="T35" fmla="*/ 43614 h 38"/>
              <a:gd name="T36" fmla="*/ 14620 w 43"/>
              <a:gd name="T37" fmla="*/ 34591 h 38"/>
              <a:gd name="T38" fmla="*/ 13402 w 43"/>
              <a:gd name="T39" fmla="*/ 25567 h 38"/>
              <a:gd name="T40" fmla="*/ 12183 w 43"/>
              <a:gd name="T41" fmla="*/ 19551 h 38"/>
              <a:gd name="T42" fmla="*/ 10965 w 43"/>
              <a:gd name="T43" fmla="*/ 15039 h 38"/>
              <a:gd name="T44" fmla="*/ 9747 w 43"/>
              <a:gd name="T45" fmla="*/ 10528 h 38"/>
              <a:gd name="T46" fmla="*/ 9341 w 43"/>
              <a:gd name="T47" fmla="*/ 6016 h 38"/>
              <a:gd name="T48" fmla="*/ 8935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8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318 w 20"/>
              <a:gd name="T3" fmla="*/ 22860 h 5"/>
              <a:gd name="T4" fmla="*/ 635 w 20"/>
              <a:gd name="T5" fmla="*/ 34290 h 5"/>
              <a:gd name="T6" fmla="*/ 1270 w 20"/>
              <a:gd name="T7" fmla="*/ 45720 h 5"/>
              <a:gd name="T8" fmla="*/ 2223 w 20"/>
              <a:gd name="T9" fmla="*/ 57150 h 5"/>
              <a:gd name="T10" fmla="*/ 3493 w 20"/>
              <a:gd name="T11" fmla="*/ 45720 h 5"/>
              <a:gd name="T12" fmla="*/ 4445 w 20"/>
              <a:gd name="T13" fmla="*/ 34290 h 5"/>
              <a:gd name="T14" fmla="*/ 5398 w 20"/>
              <a:gd name="T15" fmla="*/ 22860 h 5"/>
              <a:gd name="T16" fmla="*/ 6350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89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19137 w 73"/>
              <a:gd name="T1" fmla="*/ 0 h 22"/>
              <a:gd name="T2" fmla="*/ 15310 w 73"/>
              <a:gd name="T3" fmla="*/ 2598 h 22"/>
              <a:gd name="T4" fmla="*/ 12439 w 73"/>
              <a:gd name="T5" fmla="*/ 5195 h 22"/>
              <a:gd name="T6" fmla="*/ 9568 w 73"/>
              <a:gd name="T7" fmla="*/ 12989 h 22"/>
              <a:gd name="T8" fmla="*/ 7176 w 73"/>
              <a:gd name="T9" fmla="*/ 20782 h 22"/>
              <a:gd name="T10" fmla="*/ 2871 w 73"/>
              <a:gd name="T11" fmla="*/ 36368 h 22"/>
              <a:gd name="T12" fmla="*/ 0 w 73"/>
              <a:gd name="T13" fmla="*/ 49357 h 22"/>
              <a:gd name="T14" fmla="*/ 9568 w 73"/>
              <a:gd name="T15" fmla="*/ 51955 h 22"/>
              <a:gd name="T16" fmla="*/ 18659 w 73"/>
              <a:gd name="T17" fmla="*/ 57150 h 22"/>
              <a:gd name="T18" fmla="*/ 23443 w 73"/>
              <a:gd name="T19" fmla="*/ 57150 h 22"/>
              <a:gd name="T20" fmla="*/ 27270 w 73"/>
              <a:gd name="T21" fmla="*/ 57150 h 22"/>
              <a:gd name="T22" fmla="*/ 31098 w 73"/>
              <a:gd name="T23" fmla="*/ 54552 h 22"/>
              <a:gd name="T24" fmla="*/ 34925 w 73"/>
              <a:gd name="T25" fmla="*/ 49357 h 22"/>
              <a:gd name="T26" fmla="*/ 30619 w 73"/>
              <a:gd name="T27" fmla="*/ 36368 h 22"/>
              <a:gd name="T28" fmla="*/ 26792 w 73"/>
              <a:gd name="T29" fmla="*/ 20782 h 22"/>
              <a:gd name="T30" fmla="*/ 25357 w 73"/>
              <a:gd name="T31" fmla="*/ 12989 h 22"/>
              <a:gd name="T32" fmla="*/ 23443 w 73"/>
              <a:gd name="T33" fmla="*/ 5195 h 22"/>
              <a:gd name="T34" fmla="*/ 21051 w 73"/>
              <a:gd name="T35" fmla="*/ 2598 h 22"/>
              <a:gd name="T36" fmla="*/ 1913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0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103555 w 281"/>
              <a:gd name="T1" fmla="*/ 87058 h 193"/>
              <a:gd name="T2" fmla="*/ 82844 w 281"/>
              <a:gd name="T3" fmla="*/ 88613 h 193"/>
              <a:gd name="T4" fmla="*/ 74031 w 281"/>
              <a:gd name="T5" fmla="*/ 87058 h 193"/>
              <a:gd name="T6" fmla="*/ 68302 w 281"/>
              <a:gd name="T7" fmla="*/ 84985 h 193"/>
              <a:gd name="T8" fmla="*/ 57286 w 281"/>
              <a:gd name="T9" fmla="*/ 69957 h 193"/>
              <a:gd name="T10" fmla="*/ 45828 w 281"/>
              <a:gd name="T11" fmla="*/ 48711 h 193"/>
              <a:gd name="T12" fmla="*/ 41422 w 281"/>
              <a:gd name="T13" fmla="*/ 38347 h 193"/>
              <a:gd name="T14" fmla="*/ 38337 w 281"/>
              <a:gd name="T15" fmla="*/ 26428 h 193"/>
              <a:gd name="T16" fmla="*/ 36575 w 281"/>
              <a:gd name="T17" fmla="*/ 13991 h 193"/>
              <a:gd name="T18" fmla="*/ 18948 w 281"/>
              <a:gd name="T19" fmla="*/ 0 h 193"/>
              <a:gd name="T20" fmla="*/ 12338 w 281"/>
              <a:gd name="T21" fmla="*/ 26947 h 193"/>
              <a:gd name="T22" fmla="*/ 7932 w 281"/>
              <a:gd name="T23" fmla="*/ 31610 h 193"/>
              <a:gd name="T24" fmla="*/ 2644 w 281"/>
              <a:gd name="T25" fmla="*/ 35756 h 193"/>
              <a:gd name="T26" fmla="*/ 0 w 281"/>
              <a:gd name="T27" fmla="*/ 37829 h 193"/>
              <a:gd name="T28" fmla="*/ 441 w 281"/>
              <a:gd name="T29" fmla="*/ 38865 h 193"/>
              <a:gd name="T30" fmla="*/ 3966 w 281"/>
              <a:gd name="T31" fmla="*/ 41974 h 193"/>
              <a:gd name="T32" fmla="*/ 16304 w 281"/>
              <a:gd name="T33" fmla="*/ 57520 h 193"/>
              <a:gd name="T34" fmla="*/ 19830 w 281"/>
              <a:gd name="T35" fmla="*/ 63221 h 193"/>
              <a:gd name="T36" fmla="*/ 23355 w 281"/>
              <a:gd name="T37" fmla="*/ 66848 h 193"/>
              <a:gd name="T38" fmla="*/ 27321 w 281"/>
              <a:gd name="T39" fmla="*/ 69439 h 193"/>
              <a:gd name="T40" fmla="*/ 31287 w 281"/>
              <a:gd name="T41" fmla="*/ 70475 h 193"/>
              <a:gd name="T42" fmla="*/ 33490 w 281"/>
              <a:gd name="T43" fmla="*/ 73066 h 193"/>
              <a:gd name="T44" fmla="*/ 34812 w 281"/>
              <a:gd name="T45" fmla="*/ 76694 h 193"/>
              <a:gd name="T46" fmla="*/ 37897 w 281"/>
              <a:gd name="T47" fmla="*/ 79285 h 193"/>
              <a:gd name="T48" fmla="*/ 43625 w 281"/>
              <a:gd name="T49" fmla="*/ 79803 h 193"/>
              <a:gd name="T50" fmla="*/ 46710 w 281"/>
              <a:gd name="T51" fmla="*/ 81358 h 193"/>
              <a:gd name="T52" fmla="*/ 48032 w 281"/>
              <a:gd name="T53" fmla="*/ 84467 h 193"/>
              <a:gd name="T54" fmla="*/ 48032 w 281"/>
              <a:gd name="T55" fmla="*/ 92758 h 193"/>
              <a:gd name="T56" fmla="*/ 48913 w 281"/>
              <a:gd name="T57" fmla="*/ 97940 h 193"/>
              <a:gd name="T58" fmla="*/ 50676 w 281"/>
              <a:gd name="T59" fmla="*/ 100013 h 193"/>
              <a:gd name="T60" fmla="*/ 56845 w 281"/>
              <a:gd name="T61" fmla="*/ 100013 h 193"/>
              <a:gd name="T62" fmla="*/ 72268 w 281"/>
              <a:gd name="T63" fmla="*/ 98977 h 193"/>
              <a:gd name="T64" fmla="*/ 79319 w 281"/>
              <a:gd name="T65" fmla="*/ 97940 h 193"/>
              <a:gd name="T66" fmla="*/ 84606 w 281"/>
              <a:gd name="T67" fmla="*/ 96386 h 193"/>
              <a:gd name="T68" fmla="*/ 93420 w 281"/>
              <a:gd name="T69" fmla="*/ 97422 h 193"/>
              <a:gd name="T70" fmla="*/ 123825 w 281"/>
              <a:gd name="T71" fmla="*/ 86540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1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18880 h 56"/>
              <a:gd name="T2" fmla="*/ 1746 w 120"/>
              <a:gd name="T3" fmla="*/ 27271 h 56"/>
              <a:gd name="T4" fmla="*/ 4366 w 120"/>
              <a:gd name="T5" fmla="*/ 34613 h 56"/>
              <a:gd name="T6" fmla="*/ 6549 w 120"/>
              <a:gd name="T7" fmla="*/ 38808 h 56"/>
              <a:gd name="T8" fmla="*/ 9168 w 120"/>
              <a:gd name="T9" fmla="*/ 43004 h 56"/>
              <a:gd name="T10" fmla="*/ 11787 w 120"/>
              <a:gd name="T11" fmla="*/ 46151 h 56"/>
              <a:gd name="T12" fmla="*/ 15280 w 120"/>
              <a:gd name="T13" fmla="*/ 48248 h 56"/>
              <a:gd name="T14" fmla="*/ 18772 w 120"/>
              <a:gd name="T15" fmla="*/ 50346 h 56"/>
              <a:gd name="T16" fmla="*/ 22265 w 120"/>
              <a:gd name="T17" fmla="*/ 51395 h 56"/>
              <a:gd name="T18" fmla="*/ 29250 w 120"/>
              <a:gd name="T19" fmla="*/ 52444 h 56"/>
              <a:gd name="T20" fmla="*/ 37108 w 120"/>
              <a:gd name="T21" fmla="*/ 53493 h 56"/>
              <a:gd name="T22" fmla="*/ 44530 w 120"/>
              <a:gd name="T23" fmla="*/ 54542 h 56"/>
              <a:gd name="T24" fmla="*/ 52388 w 120"/>
              <a:gd name="T25" fmla="*/ 58737 h 56"/>
              <a:gd name="T26" fmla="*/ 52388 w 120"/>
              <a:gd name="T27" fmla="*/ 38808 h 56"/>
              <a:gd name="T28" fmla="*/ 48459 w 120"/>
              <a:gd name="T29" fmla="*/ 35662 h 56"/>
              <a:gd name="T30" fmla="*/ 44530 w 120"/>
              <a:gd name="T31" fmla="*/ 31466 h 56"/>
              <a:gd name="T32" fmla="*/ 41037 w 120"/>
              <a:gd name="T33" fmla="*/ 25173 h 56"/>
              <a:gd name="T34" fmla="*/ 38418 w 120"/>
              <a:gd name="T35" fmla="*/ 18880 h 56"/>
              <a:gd name="T36" fmla="*/ 35362 w 120"/>
              <a:gd name="T37" fmla="*/ 13635 h 56"/>
              <a:gd name="T38" fmla="*/ 32743 w 120"/>
              <a:gd name="T39" fmla="*/ 7342 h 56"/>
              <a:gd name="T40" fmla="*/ 29250 w 120"/>
              <a:gd name="T41" fmla="*/ 3147 h 56"/>
              <a:gd name="T42" fmla="*/ 26194 w 120"/>
              <a:gd name="T43" fmla="*/ 0 h 56"/>
              <a:gd name="T44" fmla="*/ 24011 w 120"/>
              <a:gd name="T45" fmla="*/ 1049 h 56"/>
              <a:gd name="T46" fmla="*/ 20955 w 120"/>
              <a:gd name="T47" fmla="*/ 3147 h 56"/>
              <a:gd name="T48" fmla="*/ 17899 w 120"/>
              <a:gd name="T49" fmla="*/ 6293 h 56"/>
              <a:gd name="T50" fmla="*/ 14407 w 120"/>
              <a:gd name="T51" fmla="*/ 9440 h 56"/>
              <a:gd name="T52" fmla="*/ 10478 w 120"/>
              <a:gd name="T53" fmla="*/ 13635 h 56"/>
              <a:gd name="T54" fmla="*/ 6985 w 120"/>
              <a:gd name="T55" fmla="*/ 15733 h 56"/>
              <a:gd name="T56" fmla="*/ 3493 w 120"/>
              <a:gd name="T57" fmla="*/ 18880 h 56"/>
              <a:gd name="T58" fmla="*/ 0 w 120"/>
              <a:gd name="T59" fmla="*/ 18880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2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55496 w 574"/>
              <a:gd name="T1" fmla="*/ 537 h 204"/>
              <a:gd name="T2" fmla="*/ 41513 w 574"/>
              <a:gd name="T3" fmla="*/ 3222 h 204"/>
              <a:gd name="T4" fmla="*/ 28841 w 574"/>
              <a:gd name="T5" fmla="*/ 8591 h 204"/>
              <a:gd name="T6" fmla="*/ 18790 w 574"/>
              <a:gd name="T7" fmla="*/ 13961 h 204"/>
              <a:gd name="T8" fmla="*/ 13109 w 574"/>
              <a:gd name="T9" fmla="*/ 18793 h 204"/>
              <a:gd name="T10" fmla="*/ 6992 w 574"/>
              <a:gd name="T11" fmla="*/ 27385 h 204"/>
              <a:gd name="T12" fmla="*/ 1748 w 574"/>
              <a:gd name="T13" fmla="*/ 38124 h 204"/>
              <a:gd name="T14" fmla="*/ 0 w 574"/>
              <a:gd name="T15" fmla="*/ 44030 h 204"/>
              <a:gd name="T16" fmla="*/ 437 w 574"/>
              <a:gd name="T17" fmla="*/ 46178 h 204"/>
              <a:gd name="T18" fmla="*/ 5681 w 574"/>
              <a:gd name="T19" fmla="*/ 46178 h 204"/>
              <a:gd name="T20" fmla="*/ 12672 w 574"/>
              <a:gd name="T21" fmla="*/ 44567 h 204"/>
              <a:gd name="T22" fmla="*/ 22723 w 574"/>
              <a:gd name="T23" fmla="*/ 40271 h 204"/>
              <a:gd name="T24" fmla="*/ 34958 w 574"/>
              <a:gd name="T25" fmla="*/ 31143 h 204"/>
              <a:gd name="T26" fmla="*/ 44572 w 574"/>
              <a:gd name="T27" fmla="*/ 24700 h 204"/>
              <a:gd name="T28" fmla="*/ 52000 w 574"/>
              <a:gd name="T29" fmla="*/ 21478 h 204"/>
              <a:gd name="T30" fmla="*/ 76471 w 574"/>
              <a:gd name="T31" fmla="*/ 19867 h 204"/>
              <a:gd name="T32" fmla="*/ 76908 w 574"/>
              <a:gd name="T33" fmla="*/ 25774 h 204"/>
              <a:gd name="T34" fmla="*/ 78656 w 574"/>
              <a:gd name="T35" fmla="*/ 29532 h 204"/>
              <a:gd name="T36" fmla="*/ 80404 w 574"/>
              <a:gd name="T37" fmla="*/ 31680 h 204"/>
              <a:gd name="T38" fmla="*/ 83026 w 574"/>
              <a:gd name="T39" fmla="*/ 32754 h 204"/>
              <a:gd name="T40" fmla="*/ 100068 w 574"/>
              <a:gd name="T41" fmla="*/ 32754 h 204"/>
              <a:gd name="T42" fmla="*/ 117547 w 574"/>
              <a:gd name="T43" fmla="*/ 41882 h 204"/>
              <a:gd name="T44" fmla="*/ 131967 w 574"/>
              <a:gd name="T45" fmla="*/ 51010 h 204"/>
              <a:gd name="T46" fmla="*/ 146824 w 574"/>
              <a:gd name="T47" fmla="*/ 59602 h 204"/>
              <a:gd name="T48" fmla="*/ 163867 w 574"/>
              <a:gd name="T49" fmla="*/ 66045 h 204"/>
              <a:gd name="T50" fmla="*/ 164303 w 574"/>
              <a:gd name="T51" fmla="*/ 71951 h 204"/>
              <a:gd name="T52" fmla="*/ 166925 w 574"/>
              <a:gd name="T53" fmla="*/ 76247 h 204"/>
              <a:gd name="T54" fmla="*/ 173043 w 574"/>
              <a:gd name="T55" fmla="*/ 81617 h 204"/>
              <a:gd name="T56" fmla="*/ 187026 w 574"/>
              <a:gd name="T57" fmla="*/ 89134 h 204"/>
              <a:gd name="T58" fmla="*/ 175665 w 574"/>
              <a:gd name="T59" fmla="*/ 102558 h 204"/>
              <a:gd name="T60" fmla="*/ 177850 w 574"/>
              <a:gd name="T61" fmla="*/ 105779 h 204"/>
              <a:gd name="T62" fmla="*/ 180909 w 574"/>
              <a:gd name="T63" fmla="*/ 107927 h 204"/>
              <a:gd name="T64" fmla="*/ 187463 w 574"/>
              <a:gd name="T65" fmla="*/ 109538 h 204"/>
              <a:gd name="T66" fmla="*/ 201447 w 574"/>
              <a:gd name="T67" fmla="*/ 109538 h 204"/>
              <a:gd name="T68" fmla="*/ 242522 w 574"/>
              <a:gd name="T69" fmla="*/ 101484 h 204"/>
              <a:gd name="T70" fmla="*/ 244270 w 574"/>
              <a:gd name="T71" fmla="*/ 98262 h 204"/>
              <a:gd name="T72" fmla="*/ 246892 w 574"/>
              <a:gd name="T73" fmla="*/ 95040 h 204"/>
              <a:gd name="T74" fmla="*/ 249951 w 574"/>
              <a:gd name="T75" fmla="*/ 92893 h 204"/>
              <a:gd name="T76" fmla="*/ 250825 w 574"/>
              <a:gd name="T77" fmla="*/ 86449 h 204"/>
              <a:gd name="T78" fmla="*/ 245144 w 574"/>
              <a:gd name="T79" fmla="*/ 82154 h 204"/>
              <a:gd name="T80" fmla="*/ 232472 w 574"/>
              <a:gd name="T81" fmla="*/ 79469 h 204"/>
              <a:gd name="T82" fmla="*/ 220237 w 574"/>
              <a:gd name="T83" fmla="*/ 74099 h 204"/>
              <a:gd name="T84" fmla="*/ 207564 w 574"/>
              <a:gd name="T85" fmla="*/ 66582 h 204"/>
              <a:gd name="T86" fmla="*/ 189211 w 574"/>
              <a:gd name="T87" fmla="*/ 53695 h 204"/>
              <a:gd name="T88" fmla="*/ 167362 w 574"/>
              <a:gd name="T89" fmla="*/ 36513 h 204"/>
              <a:gd name="T90" fmla="*/ 156438 w 574"/>
              <a:gd name="T91" fmla="*/ 28995 h 204"/>
              <a:gd name="T92" fmla="*/ 152068 w 574"/>
              <a:gd name="T93" fmla="*/ 27921 h 204"/>
              <a:gd name="T94" fmla="*/ 144203 w 574"/>
              <a:gd name="T95" fmla="*/ 27921 h 204"/>
              <a:gd name="T96" fmla="*/ 136337 w 574"/>
              <a:gd name="T97" fmla="*/ 27385 h 204"/>
              <a:gd name="T98" fmla="*/ 131967 w 574"/>
              <a:gd name="T99" fmla="*/ 26311 h 204"/>
              <a:gd name="T100" fmla="*/ 128471 w 574"/>
              <a:gd name="T101" fmla="*/ 23089 h 204"/>
              <a:gd name="T102" fmla="*/ 126723 w 574"/>
              <a:gd name="T103" fmla="*/ 17182 h 204"/>
              <a:gd name="T104" fmla="*/ 62051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3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17608 w 207"/>
              <a:gd name="T1" fmla="*/ 69850 h 129"/>
              <a:gd name="T2" fmla="*/ 21473 w 207"/>
              <a:gd name="T3" fmla="*/ 65518 h 129"/>
              <a:gd name="T4" fmla="*/ 25768 w 207"/>
              <a:gd name="T5" fmla="*/ 62269 h 129"/>
              <a:gd name="T6" fmla="*/ 30063 w 207"/>
              <a:gd name="T7" fmla="*/ 59562 h 129"/>
              <a:gd name="T8" fmla="*/ 34787 w 207"/>
              <a:gd name="T9" fmla="*/ 56855 h 129"/>
              <a:gd name="T10" fmla="*/ 45094 w 207"/>
              <a:gd name="T11" fmla="*/ 53606 h 129"/>
              <a:gd name="T12" fmla="*/ 55401 w 207"/>
              <a:gd name="T13" fmla="*/ 49816 h 129"/>
              <a:gd name="T14" fmla="*/ 65279 w 207"/>
              <a:gd name="T15" fmla="*/ 47108 h 129"/>
              <a:gd name="T16" fmla="*/ 74298 w 207"/>
              <a:gd name="T17" fmla="*/ 43859 h 129"/>
              <a:gd name="T18" fmla="*/ 78163 w 207"/>
              <a:gd name="T19" fmla="*/ 41693 h 129"/>
              <a:gd name="T20" fmla="*/ 82029 w 207"/>
              <a:gd name="T21" fmla="*/ 39528 h 129"/>
              <a:gd name="T22" fmla="*/ 85894 w 207"/>
              <a:gd name="T23" fmla="*/ 36279 h 129"/>
              <a:gd name="T24" fmla="*/ 88900 w 207"/>
              <a:gd name="T25" fmla="*/ 33030 h 129"/>
              <a:gd name="T26" fmla="*/ 85035 w 207"/>
              <a:gd name="T27" fmla="*/ 29240 h 129"/>
              <a:gd name="T28" fmla="*/ 80740 w 207"/>
              <a:gd name="T29" fmla="*/ 25449 h 129"/>
              <a:gd name="T30" fmla="*/ 76875 w 207"/>
              <a:gd name="T31" fmla="*/ 22742 h 129"/>
              <a:gd name="T32" fmla="*/ 72580 w 207"/>
              <a:gd name="T33" fmla="*/ 19493 h 129"/>
              <a:gd name="T34" fmla="*/ 64420 w 207"/>
              <a:gd name="T35" fmla="*/ 15703 h 129"/>
              <a:gd name="T36" fmla="*/ 55401 w 207"/>
              <a:gd name="T37" fmla="*/ 12454 h 129"/>
              <a:gd name="T38" fmla="*/ 45953 w 207"/>
              <a:gd name="T39" fmla="*/ 9747 h 129"/>
              <a:gd name="T40" fmla="*/ 36505 w 207"/>
              <a:gd name="T41" fmla="*/ 7039 h 129"/>
              <a:gd name="T42" fmla="*/ 27057 w 207"/>
              <a:gd name="T43" fmla="*/ 3790 h 129"/>
              <a:gd name="T44" fmla="*/ 17608 w 207"/>
              <a:gd name="T45" fmla="*/ 0 h 129"/>
              <a:gd name="T46" fmla="*/ 0 w 207"/>
              <a:gd name="T47" fmla="*/ 0 h 129"/>
              <a:gd name="T48" fmla="*/ 429 w 207"/>
              <a:gd name="T49" fmla="*/ 3249 h 129"/>
              <a:gd name="T50" fmla="*/ 859 w 207"/>
              <a:gd name="T51" fmla="*/ 7039 h 129"/>
              <a:gd name="T52" fmla="*/ 1718 w 207"/>
              <a:gd name="T53" fmla="*/ 10288 h 129"/>
              <a:gd name="T54" fmla="*/ 2577 w 207"/>
              <a:gd name="T55" fmla="*/ 13537 h 129"/>
              <a:gd name="T56" fmla="*/ 4295 w 207"/>
              <a:gd name="T57" fmla="*/ 18952 h 129"/>
              <a:gd name="T58" fmla="*/ 5583 w 207"/>
              <a:gd name="T59" fmla="*/ 24908 h 129"/>
              <a:gd name="T60" fmla="*/ 7301 w 207"/>
              <a:gd name="T61" fmla="*/ 29240 h 129"/>
              <a:gd name="T62" fmla="*/ 7730 w 207"/>
              <a:gd name="T63" fmla="*/ 33571 h 129"/>
              <a:gd name="T64" fmla="*/ 7301 w 207"/>
              <a:gd name="T65" fmla="*/ 35196 h 129"/>
              <a:gd name="T66" fmla="*/ 6013 w 207"/>
              <a:gd name="T67" fmla="*/ 36820 h 129"/>
              <a:gd name="T68" fmla="*/ 4724 w 207"/>
              <a:gd name="T69" fmla="*/ 38445 h 129"/>
              <a:gd name="T70" fmla="*/ 3006 w 207"/>
              <a:gd name="T71" fmla="*/ 39528 h 129"/>
              <a:gd name="T72" fmla="*/ 0 w 207"/>
              <a:gd name="T73" fmla="*/ 56313 h 129"/>
              <a:gd name="T74" fmla="*/ 1718 w 207"/>
              <a:gd name="T75" fmla="*/ 57396 h 129"/>
              <a:gd name="T76" fmla="*/ 5583 w 207"/>
              <a:gd name="T77" fmla="*/ 59562 h 129"/>
              <a:gd name="T78" fmla="*/ 8160 w 207"/>
              <a:gd name="T79" fmla="*/ 61186 h 129"/>
              <a:gd name="T80" fmla="*/ 10737 w 207"/>
              <a:gd name="T81" fmla="*/ 63352 h 129"/>
              <a:gd name="T82" fmla="*/ 14172 w 207"/>
              <a:gd name="T83" fmla="*/ 66060 h 129"/>
              <a:gd name="T84" fmla="*/ 17608 w 207"/>
              <a:gd name="T85" fmla="*/ 69850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94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33338 w 72"/>
              <a:gd name="T1" fmla="*/ 0 h 154"/>
              <a:gd name="T2" fmla="*/ 31949 w 72"/>
              <a:gd name="T3" fmla="*/ 2185 h 154"/>
              <a:gd name="T4" fmla="*/ 31023 w 72"/>
              <a:gd name="T5" fmla="*/ 4917 h 154"/>
              <a:gd name="T6" fmla="*/ 30560 w 72"/>
              <a:gd name="T7" fmla="*/ 7102 h 154"/>
              <a:gd name="T8" fmla="*/ 30560 w 72"/>
              <a:gd name="T9" fmla="*/ 9834 h 154"/>
              <a:gd name="T10" fmla="*/ 30560 w 72"/>
              <a:gd name="T11" fmla="*/ 14751 h 154"/>
              <a:gd name="T12" fmla="*/ 30560 w 72"/>
              <a:gd name="T13" fmla="*/ 20215 h 154"/>
              <a:gd name="T14" fmla="*/ 31949 w 72"/>
              <a:gd name="T15" fmla="*/ 23493 h 154"/>
              <a:gd name="T16" fmla="*/ 32875 w 72"/>
              <a:gd name="T17" fmla="*/ 27317 h 154"/>
              <a:gd name="T18" fmla="*/ 32875 w 72"/>
              <a:gd name="T19" fmla="*/ 31142 h 154"/>
              <a:gd name="T20" fmla="*/ 32875 w 72"/>
              <a:gd name="T21" fmla="*/ 35512 h 154"/>
              <a:gd name="T22" fmla="*/ 31949 w 72"/>
              <a:gd name="T23" fmla="*/ 39883 h 154"/>
              <a:gd name="T24" fmla="*/ 31023 w 72"/>
              <a:gd name="T25" fmla="*/ 44800 h 154"/>
              <a:gd name="T26" fmla="*/ 30097 w 72"/>
              <a:gd name="T27" fmla="*/ 49717 h 154"/>
              <a:gd name="T28" fmla="*/ 28245 w 72"/>
              <a:gd name="T29" fmla="*/ 54634 h 154"/>
              <a:gd name="T30" fmla="*/ 24540 w 72"/>
              <a:gd name="T31" fmla="*/ 63376 h 154"/>
              <a:gd name="T32" fmla="*/ 20373 w 72"/>
              <a:gd name="T33" fmla="*/ 71571 h 154"/>
              <a:gd name="T34" fmla="*/ 15743 w 72"/>
              <a:gd name="T35" fmla="*/ 78674 h 154"/>
              <a:gd name="T36" fmla="*/ 12039 w 72"/>
              <a:gd name="T37" fmla="*/ 84137 h 154"/>
              <a:gd name="T38" fmla="*/ 12039 w 72"/>
              <a:gd name="T39" fmla="*/ 77035 h 154"/>
              <a:gd name="T40" fmla="*/ 6945 w 72"/>
              <a:gd name="T41" fmla="*/ 78674 h 154"/>
              <a:gd name="T42" fmla="*/ 0 w 72"/>
              <a:gd name="T43" fmla="*/ 80859 h 154"/>
              <a:gd name="T44" fmla="*/ 1389 w 72"/>
              <a:gd name="T45" fmla="*/ 70478 h 154"/>
              <a:gd name="T46" fmla="*/ 3704 w 72"/>
              <a:gd name="T47" fmla="*/ 57366 h 154"/>
              <a:gd name="T48" fmla="*/ 4167 w 72"/>
              <a:gd name="T49" fmla="*/ 50264 h 154"/>
              <a:gd name="T50" fmla="*/ 5556 w 72"/>
              <a:gd name="T51" fmla="*/ 42069 h 154"/>
              <a:gd name="T52" fmla="*/ 6945 w 72"/>
              <a:gd name="T53" fmla="*/ 34420 h 154"/>
              <a:gd name="T54" fmla="*/ 9261 w 72"/>
              <a:gd name="T55" fmla="*/ 26771 h 154"/>
              <a:gd name="T56" fmla="*/ 9261 w 72"/>
              <a:gd name="T57" fmla="*/ 0 h 154"/>
              <a:gd name="T58" fmla="*/ 11576 w 72"/>
              <a:gd name="T59" fmla="*/ 0 h 154"/>
              <a:gd name="T60" fmla="*/ 17595 w 72"/>
              <a:gd name="T61" fmla="*/ 0 h 154"/>
              <a:gd name="T62" fmla="*/ 25930 w 72"/>
              <a:gd name="T63" fmla="*/ 0 h 154"/>
              <a:gd name="T64" fmla="*/ 33338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5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3501 w 214"/>
              <a:gd name="T1" fmla="*/ 111558 h 271"/>
              <a:gd name="T2" fmla="*/ 5252 w 214"/>
              <a:gd name="T3" fmla="*/ 97546 h 271"/>
              <a:gd name="T4" fmla="*/ 10504 w 214"/>
              <a:gd name="T5" fmla="*/ 79762 h 271"/>
              <a:gd name="T6" fmla="*/ 15319 w 214"/>
              <a:gd name="T7" fmla="*/ 63594 h 271"/>
              <a:gd name="T8" fmla="*/ 19258 w 214"/>
              <a:gd name="T9" fmla="*/ 60360 h 271"/>
              <a:gd name="T10" fmla="*/ 28449 w 214"/>
              <a:gd name="T11" fmla="*/ 59821 h 271"/>
              <a:gd name="T12" fmla="*/ 38953 w 214"/>
              <a:gd name="T13" fmla="*/ 59821 h 271"/>
              <a:gd name="T14" fmla="*/ 46394 w 214"/>
              <a:gd name="T15" fmla="*/ 59282 h 271"/>
              <a:gd name="T16" fmla="*/ 52521 w 214"/>
              <a:gd name="T17" fmla="*/ 56588 h 271"/>
              <a:gd name="T18" fmla="*/ 56898 w 214"/>
              <a:gd name="T19" fmla="*/ 50659 h 271"/>
              <a:gd name="T20" fmla="*/ 49458 w 214"/>
              <a:gd name="T21" fmla="*/ 39342 h 271"/>
              <a:gd name="T22" fmla="*/ 37640 w 214"/>
              <a:gd name="T23" fmla="*/ 31258 h 271"/>
              <a:gd name="T24" fmla="*/ 33701 w 214"/>
              <a:gd name="T25" fmla="*/ 26408 h 271"/>
              <a:gd name="T26" fmla="*/ 32388 w 214"/>
              <a:gd name="T27" fmla="*/ 22096 h 271"/>
              <a:gd name="T28" fmla="*/ 32826 w 214"/>
              <a:gd name="T29" fmla="*/ 18324 h 271"/>
              <a:gd name="T30" fmla="*/ 35890 w 214"/>
              <a:gd name="T31" fmla="*/ 15090 h 271"/>
              <a:gd name="T32" fmla="*/ 44205 w 214"/>
              <a:gd name="T33" fmla="*/ 10240 h 271"/>
              <a:gd name="T34" fmla="*/ 65652 w 214"/>
              <a:gd name="T35" fmla="*/ 1617 h 271"/>
              <a:gd name="T36" fmla="*/ 78782 w 214"/>
              <a:gd name="T37" fmla="*/ 0 h 271"/>
              <a:gd name="T38" fmla="*/ 86660 w 214"/>
              <a:gd name="T39" fmla="*/ 0 h 271"/>
              <a:gd name="T40" fmla="*/ 90599 w 214"/>
              <a:gd name="T41" fmla="*/ 26408 h 271"/>
              <a:gd name="T42" fmla="*/ 87098 w 214"/>
              <a:gd name="T43" fmla="*/ 41498 h 271"/>
              <a:gd name="T44" fmla="*/ 85347 w 214"/>
              <a:gd name="T45" fmla="*/ 56588 h 271"/>
              <a:gd name="T46" fmla="*/ 81846 w 214"/>
              <a:gd name="T47" fmla="*/ 79762 h 271"/>
              <a:gd name="T48" fmla="*/ 93225 w 214"/>
              <a:gd name="T49" fmla="*/ 82995 h 271"/>
              <a:gd name="T50" fmla="*/ 93663 w 214"/>
              <a:gd name="T51" fmla="*/ 89462 h 271"/>
              <a:gd name="T52" fmla="*/ 91912 w 214"/>
              <a:gd name="T53" fmla="*/ 93774 h 271"/>
              <a:gd name="T54" fmla="*/ 90599 w 214"/>
              <a:gd name="T55" fmla="*/ 95391 h 271"/>
              <a:gd name="T56" fmla="*/ 87536 w 214"/>
              <a:gd name="T57" fmla="*/ 95930 h 271"/>
              <a:gd name="T58" fmla="*/ 84034 w 214"/>
              <a:gd name="T59" fmla="*/ 105630 h 271"/>
              <a:gd name="T60" fmla="*/ 79220 w 214"/>
              <a:gd name="T61" fmla="*/ 115331 h 271"/>
              <a:gd name="T62" fmla="*/ 67840 w 214"/>
              <a:gd name="T63" fmla="*/ 130960 h 271"/>
              <a:gd name="T64" fmla="*/ 52521 w 214"/>
              <a:gd name="T65" fmla="*/ 146050 h 271"/>
              <a:gd name="T66" fmla="*/ 38078 w 214"/>
              <a:gd name="T67" fmla="*/ 140661 h 271"/>
              <a:gd name="T68" fmla="*/ 24072 w 214"/>
              <a:gd name="T69" fmla="*/ 133655 h 271"/>
              <a:gd name="T70" fmla="*/ 0 w 214"/>
              <a:gd name="T71" fmla="*/ 119104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6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28015 w 153"/>
              <a:gd name="T1" fmla="*/ 0 h 80"/>
              <a:gd name="T2" fmla="*/ 38754 w 153"/>
              <a:gd name="T3" fmla="*/ 10001 h 80"/>
              <a:gd name="T4" fmla="*/ 48559 w 153"/>
              <a:gd name="T5" fmla="*/ 17145 h 80"/>
              <a:gd name="T6" fmla="*/ 53695 w 153"/>
              <a:gd name="T7" fmla="*/ 20003 h 80"/>
              <a:gd name="T8" fmla="*/ 58831 w 153"/>
              <a:gd name="T9" fmla="*/ 22146 h 80"/>
              <a:gd name="T10" fmla="*/ 62100 w 153"/>
              <a:gd name="T11" fmla="*/ 22860 h 80"/>
              <a:gd name="T12" fmla="*/ 64901 w 153"/>
              <a:gd name="T13" fmla="*/ 22860 h 80"/>
              <a:gd name="T14" fmla="*/ 68170 w 153"/>
              <a:gd name="T15" fmla="*/ 22146 h 80"/>
              <a:gd name="T16" fmla="*/ 71438 w 153"/>
              <a:gd name="T17" fmla="*/ 21431 h 80"/>
              <a:gd name="T18" fmla="*/ 71438 w 153"/>
              <a:gd name="T19" fmla="*/ 40005 h 80"/>
              <a:gd name="T20" fmla="*/ 69570 w 153"/>
              <a:gd name="T21" fmla="*/ 42863 h 80"/>
              <a:gd name="T22" fmla="*/ 67703 w 153"/>
              <a:gd name="T23" fmla="*/ 46434 h 80"/>
              <a:gd name="T24" fmla="*/ 64434 w 153"/>
              <a:gd name="T25" fmla="*/ 49292 h 80"/>
              <a:gd name="T26" fmla="*/ 61633 w 153"/>
              <a:gd name="T27" fmla="*/ 51435 h 80"/>
              <a:gd name="T28" fmla="*/ 58364 w 153"/>
              <a:gd name="T29" fmla="*/ 53578 h 80"/>
              <a:gd name="T30" fmla="*/ 55563 w 153"/>
              <a:gd name="T31" fmla="*/ 55721 h 80"/>
              <a:gd name="T32" fmla="*/ 52294 w 153"/>
              <a:gd name="T33" fmla="*/ 56436 h 80"/>
              <a:gd name="T34" fmla="*/ 49493 w 153"/>
              <a:gd name="T35" fmla="*/ 57150 h 80"/>
              <a:gd name="T36" fmla="*/ 42022 w 153"/>
              <a:gd name="T37" fmla="*/ 52864 h 80"/>
              <a:gd name="T38" fmla="*/ 35486 w 153"/>
              <a:gd name="T39" fmla="*/ 50721 h 80"/>
              <a:gd name="T40" fmla="*/ 29416 w 153"/>
              <a:gd name="T41" fmla="*/ 49292 h 80"/>
              <a:gd name="T42" fmla="*/ 23346 w 153"/>
              <a:gd name="T43" fmla="*/ 49292 h 80"/>
              <a:gd name="T44" fmla="*/ 18210 w 153"/>
              <a:gd name="T45" fmla="*/ 48578 h 80"/>
              <a:gd name="T46" fmla="*/ 12607 w 153"/>
              <a:gd name="T47" fmla="*/ 47863 h 80"/>
              <a:gd name="T48" fmla="*/ 6537 w 153"/>
              <a:gd name="T49" fmla="*/ 46434 h 80"/>
              <a:gd name="T50" fmla="*/ 0 w 153"/>
              <a:gd name="T51" fmla="*/ 44291 h 80"/>
              <a:gd name="T52" fmla="*/ 3268 w 153"/>
              <a:gd name="T53" fmla="*/ 41434 h 80"/>
              <a:gd name="T54" fmla="*/ 10739 w 153"/>
              <a:gd name="T55" fmla="*/ 32147 h 80"/>
              <a:gd name="T56" fmla="*/ 15875 w 153"/>
              <a:gd name="T57" fmla="*/ 26432 h 80"/>
              <a:gd name="T58" fmla="*/ 21011 w 153"/>
              <a:gd name="T59" fmla="*/ 20003 h 80"/>
              <a:gd name="T60" fmla="*/ 26147 w 153"/>
              <a:gd name="T61" fmla="*/ 12144 h 80"/>
              <a:gd name="T62" fmla="*/ 31283 w 153"/>
              <a:gd name="T63" fmla="*/ 4286 h 80"/>
              <a:gd name="T64" fmla="*/ 28015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7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39781 h 169"/>
              <a:gd name="T2" fmla="*/ 18935 w 332"/>
              <a:gd name="T3" fmla="*/ 52181 h 169"/>
              <a:gd name="T4" fmla="*/ 28403 w 332"/>
              <a:gd name="T5" fmla="*/ 55797 h 169"/>
              <a:gd name="T6" fmla="*/ 33997 w 332"/>
              <a:gd name="T7" fmla="*/ 56314 h 169"/>
              <a:gd name="T8" fmla="*/ 40022 w 332"/>
              <a:gd name="T9" fmla="*/ 55280 h 169"/>
              <a:gd name="T10" fmla="*/ 38731 w 332"/>
              <a:gd name="T11" fmla="*/ 74396 h 169"/>
              <a:gd name="T12" fmla="*/ 40883 w 332"/>
              <a:gd name="T13" fmla="*/ 79562 h 169"/>
              <a:gd name="T14" fmla="*/ 42604 w 332"/>
              <a:gd name="T15" fmla="*/ 84212 h 169"/>
              <a:gd name="T16" fmla="*/ 46047 w 332"/>
              <a:gd name="T17" fmla="*/ 86795 h 169"/>
              <a:gd name="T18" fmla="*/ 50351 w 332"/>
              <a:gd name="T19" fmla="*/ 87312 h 169"/>
              <a:gd name="T20" fmla="*/ 52933 w 332"/>
              <a:gd name="T21" fmla="*/ 85762 h 169"/>
              <a:gd name="T22" fmla="*/ 56806 w 332"/>
              <a:gd name="T23" fmla="*/ 81112 h 169"/>
              <a:gd name="T24" fmla="*/ 62831 w 332"/>
              <a:gd name="T25" fmla="*/ 70263 h 169"/>
              <a:gd name="T26" fmla="*/ 74880 w 332"/>
              <a:gd name="T27" fmla="*/ 59413 h 169"/>
              <a:gd name="T28" fmla="*/ 92094 w 332"/>
              <a:gd name="T29" fmla="*/ 49597 h 169"/>
              <a:gd name="T30" fmla="*/ 110169 w 332"/>
              <a:gd name="T31" fmla="*/ 41331 h 169"/>
              <a:gd name="T32" fmla="*/ 130825 w 332"/>
              <a:gd name="T33" fmla="*/ 33582 h 169"/>
              <a:gd name="T34" fmla="*/ 142875 w 332"/>
              <a:gd name="T35" fmla="*/ 23765 h 169"/>
              <a:gd name="T36" fmla="*/ 142875 w 332"/>
              <a:gd name="T37" fmla="*/ 11366 h 169"/>
              <a:gd name="T38" fmla="*/ 137711 w 332"/>
              <a:gd name="T39" fmla="*/ 1033 h 169"/>
              <a:gd name="T40" fmla="*/ 121788 w 332"/>
              <a:gd name="T41" fmla="*/ 517 h 169"/>
              <a:gd name="T42" fmla="*/ 100701 w 332"/>
              <a:gd name="T43" fmla="*/ 0 h 169"/>
              <a:gd name="T44" fmla="*/ 77462 w 332"/>
              <a:gd name="T45" fmla="*/ 517 h 169"/>
              <a:gd name="T46" fmla="*/ 56375 w 332"/>
              <a:gd name="T47" fmla="*/ 2067 h 169"/>
              <a:gd name="T48" fmla="*/ 38731 w 332"/>
              <a:gd name="T49" fmla="*/ 5166 h 169"/>
              <a:gd name="T50" fmla="*/ 25390 w 332"/>
              <a:gd name="T51" fmla="*/ 9816 h 169"/>
              <a:gd name="T52" fmla="*/ 18075 w 332"/>
              <a:gd name="T53" fmla="*/ 11366 h 169"/>
              <a:gd name="T54" fmla="*/ 15062 w 332"/>
              <a:gd name="T55" fmla="*/ 11883 h 169"/>
              <a:gd name="T56" fmla="*/ 14632 w 332"/>
              <a:gd name="T57" fmla="*/ 13433 h 169"/>
              <a:gd name="T58" fmla="*/ 14201 w 332"/>
              <a:gd name="T59" fmla="*/ 19632 h 169"/>
              <a:gd name="T60" fmla="*/ 12480 w 332"/>
              <a:gd name="T61" fmla="*/ 22732 h 169"/>
              <a:gd name="T62" fmla="*/ 9898 w 332"/>
              <a:gd name="T63" fmla="*/ 23765 h 169"/>
              <a:gd name="T64" fmla="*/ 8177 w 332"/>
              <a:gd name="T65" fmla="*/ 28415 h 169"/>
              <a:gd name="T66" fmla="*/ 4734 w 332"/>
              <a:gd name="T67" fmla="*/ 37198 h 169"/>
              <a:gd name="T68" fmla="*/ 3012 w 332"/>
              <a:gd name="T69" fmla="*/ 42881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8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19294 w 286"/>
              <a:gd name="T1" fmla="*/ 44734 h 235"/>
              <a:gd name="T2" fmla="*/ 21487 w 286"/>
              <a:gd name="T3" fmla="*/ 49936 h 235"/>
              <a:gd name="T4" fmla="*/ 23241 w 286"/>
              <a:gd name="T5" fmla="*/ 54617 h 235"/>
              <a:gd name="T6" fmla="*/ 26749 w 286"/>
              <a:gd name="T7" fmla="*/ 57218 h 235"/>
              <a:gd name="T8" fmla="*/ 31134 w 286"/>
              <a:gd name="T9" fmla="*/ 57738 h 235"/>
              <a:gd name="T10" fmla="*/ 33765 w 286"/>
              <a:gd name="T11" fmla="*/ 56177 h 235"/>
              <a:gd name="T12" fmla="*/ 37711 w 286"/>
              <a:gd name="T13" fmla="*/ 51496 h 235"/>
              <a:gd name="T14" fmla="*/ 43850 w 286"/>
              <a:gd name="T15" fmla="*/ 40573 h 235"/>
              <a:gd name="T16" fmla="*/ 56128 w 286"/>
              <a:gd name="T17" fmla="*/ 29649 h 235"/>
              <a:gd name="T18" fmla="*/ 73669 w 286"/>
              <a:gd name="T19" fmla="*/ 19766 h 235"/>
              <a:gd name="T20" fmla="*/ 92086 w 286"/>
              <a:gd name="T21" fmla="*/ 11444 h 235"/>
              <a:gd name="T22" fmla="*/ 113134 w 286"/>
              <a:gd name="T23" fmla="*/ 3641 h 235"/>
              <a:gd name="T24" fmla="*/ 125412 w 286"/>
              <a:gd name="T25" fmla="*/ 5722 h 235"/>
              <a:gd name="T26" fmla="*/ 123658 w 286"/>
              <a:gd name="T27" fmla="*/ 16645 h 235"/>
              <a:gd name="T28" fmla="*/ 119273 w 286"/>
              <a:gd name="T29" fmla="*/ 36411 h 235"/>
              <a:gd name="T30" fmla="*/ 111380 w 286"/>
              <a:gd name="T31" fmla="*/ 66581 h 235"/>
              <a:gd name="T32" fmla="*/ 106995 w 286"/>
              <a:gd name="T33" fmla="*/ 90508 h 235"/>
              <a:gd name="T34" fmla="*/ 105241 w 286"/>
              <a:gd name="T35" fmla="*/ 107153 h 235"/>
              <a:gd name="T36" fmla="*/ 64022 w 286"/>
              <a:gd name="T37" fmla="*/ 112355 h 235"/>
              <a:gd name="T38" fmla="*/ 60513 w 286"/>
              <a:gd name="T39" fmla="*/ 113395 h 235"/>
              <a:gd name="T40" fmla="*/ 57882 w 286"/>
              <a:gd name="T41" fmla="*/ 115996 h 235"/>
              <a:gd name="T42" fmla="*/ 55690 w 286"/>
              <a:gd name="T43" fmla="*/ 122238 h 235"/>
              <a:gd name="T44" fmla="*/ 47797 w 286"/>
              <a:gd name="T45" fmla="*/ 112875 h 235"/>
              <a:gd name="T46" fmla="*/ 41219 w 286"/>
              <a:gd name="T47" fmla="*/ 103512 h 235"/>
              <a:gd name="T48" fmla="*/ 30257 w 286"/>
              <a:gd name="T49" fmla="*/ 83226 h 235"/>
              <a:gd name="T50" fmla="*/ 24118 w 286"/>
              <a:gd name="T51" fmla="*/ 73863 h 235"/>
              <a:gd name="T52" fmla="*/ 17979 w 286"/>
              <a:gd name="T53" fmla="*/ 65020 h 235"/>
              <a:gd name="T54" fmla="*/ 9647 w 286"/>
              <a:gd name="T55" fmla="*/ 57218 h 235"/>
              <a:gd name="T56" fmla="*/ 0 w 286"/>
              <a:gd name="T57" fmla="*/ 51496 h 235"/>
              <a:gd name="T58" fmla="*/ 5701 w 286"/>
              <a:gd name="T59" fmla="*/ 50456 h 235"/>
              <a:gd name="T60" fmla="*/ 11401 w 286"/>
              <a:gd name="T61" fmla="*/ 47335 h 235"/>
              <a:gd name="T62" fmla="*/ 17102 w 286"/>
              <a:gd name="T63" fmla="*/ 43694 h 235"/>
              <a:gd name="T64" fmla="*/ 20610 w 286"/>
              <a:gd name="T65" fmla="*/ 39012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99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77160 w 205"/>
              <a:gd name="T1" fmla="*/ 96870 h 191"/>
              <a:gd name="T2" fmla="*/ 71824 w 205"/>
              <a:gd name="T3" fmla="*/ 96870 h 191"/>
              <a:gd name="T4" fmla="*/ 64847 w 205"/>
              <a:gd name="T5" fmla="*/ 96870 h 191"/>
              <a:gd name="T6" fmla="*/ 59101 w 205"/>
              <a:gd name="T7" fmla="*/ 94252 h 191"/>
              <a:gd name="T8" fmla="*/ 55818 w 205"/>
              <a:gd name="T9" fmla="*/ 90587 h 191"/>
              <a:gd name="T10" fmla="*/ 52945 w 205"/>
              <a:gd name="T11" fmla="*/ 85351 h 191"/>
              <a:gd name="T12" fmla="*/ 49251 w 205"/>
              <a:gd name="T13" fmla="*/ 76973 h 191"/>
              <a:gd name="T14" fmla="*/ 45147 w 205"/>
              <a:gd name="T15" fmla="*/ 68595 h 191"/>
              <a:gd name="T16" fmla="*/ 40632 w 205"/>
              <a:gd name="T17" fmla="*/ 63358 h 191"/>
              <a:gd name="T18" fmla="*/ 38169 w 205"/>
              <a:gd name="T19" fmla="*/ 65977 h 191"/>
              <a:gd name="T20" fmla="*/ 36938 w 205"/>
              <a:gd name="T21" fmla="*/ 70689 h 191"/>
              <a:gd name="T22" fmla="*/ 34476 w 205"/>
              <a:gd name="T23" fmla="*/ 68071 h 191"/>
              <a:gd name="T24" fmla="*/ 29551 w 205"/>
              <a:gd name="T25" fmla="*/ 59169 h 191"/>
              <a:gd name="T26" fmla="*/ 22984 w 205"/>
              <a:gd name="T27" fmla="*/ 45555 h 191"/>
              <a:gd name="T28" fmla="*/ 16827 w 205"/>
              <a:gd name="T29" fmla="*/ 35083 h 191"/>
              <a:gd name="T30" fmla="*/ 12723 w 205"/>
              <a:gd name="T31" fmla="*/ 30370 h 191"/>
              <a:gd name="T32" fmla="*/ 10671 w 205"/>
              <a:gd name="T33" fmla="*/ 31417 h 191"/>
              <a:gd name="T34" fmla="*/ 11902 w 205"/>
              <a:gd name="T35" fmla="*/ 36130 h 191"/>
              <a:gd name="T36" fmla="*/ 13954 w 205"/>
              <a:gd name="T37" fmla="*/ 40843 h 191"/>
              <a:gd name="T38" fmla="*/ 16827 w 205"/>
              <a:gd name="T39" fmla="*/ 43984 h 191"/>
              <a:gd name="T40" fmla="*/ 18880 w 205"/>
              <a:gd name="T41" fmla="*/ 54980 h 191"/>
              <a:gd name="T42" fmla="*/ 5336 w 205"/>
              <a:gd name="T43" fmla="*/ 51315 h 191"/>
              <a:gd name="T44" fmla="*/ 1642 w 205"/>
              <a:gd name="T45" fmla="*/ 43984 h 191"/>
              <a:gd name="T46" fmla="*/ 0 w 205"/>
              <a:gd name="T47" fmla="*/ 31417 h 191"/>
              <a:gd name="T48" fmla="*/ 0 w 205"/>
              <a:gd name="T49" fmla="*/ 19898 h 191"/>
              <a:gd name="T50" fmla="*/ 1231 w 205"/>
              <a:gd name="T51" fmla="*/ 14661 h 191"/>
              <a:gd name="T52" fmla="*/ 3283 w 205"/>
              <a:gd name="T53" fmla="*/ 11520 h 191"/>
              <a:gd name="T54" fmla="*/ 5746 w 205"/>
              <a:gd name="T55" fmla="*/ 6807 h 191"/>
              <a:gd name="T56" fmla="*/ 8208 w 205"/>
              <a:gd name="T57" fmla="*/ 2094 h 191"/>
              <a:gd name="T58" fmla="*/ 11492 w 205"/>
              <a:gd name="T59" fmla="*/ 0 h 191"/>
              <a:gd name="T60" fmla="*/ 51713 w 205"/>
              <a:gd name="T61" fmla="*/ 3142 h 191"/>
              <a:gd name="T62" fmla="*/ 52124 w 205"/>
              <a:gd name="T63" fmla="*/ 10996 h 191"/>
              <a:gd name="T64" fmla="*/ 53355 w 205"/>
              <a:gd name="T65" fmla="*/ 19374 h 191"/>
              <a:gd name="T66" fmla="*/ 58691 w 205"/>
              <a:gd name="T67" fmla="*/ 36654 h 191"/>
              <a:gd name="T68" fmla="*/ 67720 w 205"/>
              <a:gd name="T69" fmla="*/ 53410 h 191"/>
              <a:gd name="T70" fmla="*/ 72645 w 205"/>
              <a:gd name="T71" fmla="*/ 61264 h 191"/>
              <a:gd name="T72" fmla="*/ 78801 w 205"/>
              <a:gd name="T73" fmla="*/ 68071 h 191"/>
              <a:gd name="T74" fmla="*/ 77570 w 205"/>
              <a:gd name="T75" fmla="*/ 74878 h 191"/>
              <a:gd name="T76" fmla="*/ 77570 w 205"/>
              <a:gd name="T77" fmla="*/ 81685 h 191"/>
              <a:gd name="T78" fmla="*/ 78801 w 205"/>
              <a:gd name="T79" fmla="*/ 100012 h 191"/>
              <a:gd name="T80" fmla="*/ 84137 w 205"/>
              <a:gd name="T81" fmla="*/ 96870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0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1303 w 329"/>
              <a:gd name="T1" fmla="*/ 29894 h 154"/>
              <a:gd name="T2" fmla="*/ 0 w 329"/>
              <a:gd name="T3" fmla="*/ 21648 h 154"/>
              <a:gd name="T4" fmla="*/ 869 w 329"/>
              <a:gd name="T5" fmla="*/ 15978 h 154"/>
              <a:gd name="T6" fmla="*/ 7383 w 329"/>
              <a:gd name="T7" fmla="*/ 17009 h 154"/>
              <a:gd name="T8" fmla="*/ 15634 w 329"/>
              <a:gd name="T9" fmla="*/ 21132 h 154"/>
              <a:gd name="T10" fmla="*/ 21279 w 329"/>
              <a:gd name="T11" fmla="*/ 22163 h 154"/>
              <a:gd name="T12" fmla="*/ 29096 w 329"/>
              <a:gd name="T13" fmla="*/ 22163 h 154"/>
              <a:gd name="T14" fmla="*/ 37347 w 329"/>
              <a:gd name="T15" fmla="*/ 20101 h 154"/>
              <a:gd name="T16" fmla="*/ 47770 w 329"/>
              <a:gd name="T17" fmla="*/ 15463 h 154"/>
              <a:gd name="T18" fmla="*/ 60798 w 329"/>
              <a:gd name="T19" fmla="*/ 6700 h 154"/>
              <a:gd name="T20" fmla="*/ 70352 w 329"/>
              <a:gd name="T21" fmla="*/ 2062 h 154"/>
              <a:gd name="T22" fmla="*/ 77734 w 329"/>
              <a:gd name="T23" fmla="*/ 0 h 154"/>
              <a:gd name="T24" fmla="*/ 88157 w 329"/>
              <a:gd name="T25" fmla="*/ 0 h 154"/>
              <a:gd name="T26" fmla="*/ 97277 w 329"/>
              <a:gd name="T27" fmla="*/ 3093 h 154"/>
              <a:gd name="T28" fmla="*/ 105528 w 329"/>
              <a:gd name="T29" fmla="*/ 7731 h 154"/>
              <a:gd name="T30" fmla="*/ 112476 w 329"/>
              <a:gd name="T31" fmla="*/ 14432 h 154"/>
              <a:gd name="T32" fmla="*/ 121596 w 329"/>
              <a:gd name="T33" fmla="*/ 23709 h 154"/>
              <a:gd name="T34" fmla="*/ 131150 w 329"/>
              <a:gd name="T35" fmla="*/ 31441 h 154"/>
              <a:gd name="T36" fmla="*/ 138532 w 329"/>
              <a:gd name="T37" fmla="*/ 34533 h 154"/>
              <a:gd name="T38" fmla="*/ 135927 w 329"/>
              <a:gd name="T39" fmla="*/ 42265 h 154"/>
              <a:gd name="T40" fmla="*/ 127241 w 329"/>
              <a:gd name="T41" fmla="*/ 54635 h 154"/>
              <a:gd name="T42" fmla="*/ 120293 w 329"/>
              <a:gd name="T43" fmla="*/ 71128 h 154"/>
              <a:gd name="T44" fmla="*/ 115082 w 329"/>
              <a:gd name="T45" fmla="*/ 78860 h 154"/>
              <a:gd name="T46" fmla="*/ 109870 w 329"/>
              <a:gd name="T47" fmla="*/ 75252 h 154"/>
              <a:gd name="T48" fmla="*/ 104225 w 329"/>
              <a:gd name="T49" fmla="*/ 70097 h 154"/>
              <a:gd name="T50" fmla="*/ 99882 w 329"/>
              <a:gd name="T51" fmla="*/ 64943 h 154"/>
              <a:gd name="T52" fmla="*/ 99882 w 329"/>
              <a:gd name="T53" fmla="*/ 58758 h 154"/>
              <a:gd name="T54" fmla="*/ 102054 w 329"/>
              <a:gd name="T55" fmla="*/ 51542 h 154"/>
              <a:gd name="T56" fmla="*/ 108133 w 329"/>
              <a:gd name="T57" fmla="*/ 44326 h 154"/>
              <a:gd name="T58" fmla="*/ 101185 w 329"/>
              <a:gd name="T59" fmla="*/ 35049 h 154"/>
              <a:gd name="T60" fmla="*/ 89894 w 329"/>
              <a:gd name="T61" fmla="*/ 28348 h 154"/>
              <a:gd name="T62" fmla="*/ 84683 w 329"/>
              <a:gd name="T63" fmla="*/ 21132 h 154"/>
              <a:gd name="T64" fmla="*/ 77734 w 329"/>
              <a:gd name="T65" fmla="*/ 17524 h 154"/>
              <a:gd name="T66" fmla="*/ 70786 w 329"/>
              <a:gd name="T67" fmla="*/ 21132 h 154"/>
              <a:gd name="T68" fmla="*/ 65141 w 329"/>
              <a:gd name="T69" fmla="*/ 25771 h 154"/>
              <a:gd name="T70" fmla="*/ 60798 w 329"/>
              <a:gd name="T71" fmla="*/ 31441 h 154"/>
              <a:gd name="T72" fmla="*/ 57324 w 329"/>
              <a:gd name="T73" fmla="*/ 38141 h 154"/>
              <a:gd name="T74" fmla="*/ 55587 w 329"/>
              <a:gd name="T75" fmla="*/ 45357 h 154"/>
              <a:gd name="T76" fmla="*/ 53415 w 329"/>
              <a:gd name="T77" fmla="*/ 56181 h 154"/>
              <a:gd name="T78" fmla="*/ 52981 w 329"/>
              <a:gd name="T79" fmla="*/ 64428 h 154"/>
              <a:gd name="T80" fmla="*/ 51244 w 329"/>
              <a:gd name="T81" fmla="*/ 66489 h 154"/>
              <a:gd name="T82" fmla="*/ 46901 w 329"/>
              <a:gd name="T83" fmla="*/ 69582 h 154"/>
              <a:gd name="T84" fmla="*/ 41690 w 329"/>
              <a:gd name="T85" fmla="*/ 69582 h 154"/>
              <a:gd name="T86" fmla="*/ 36044 w 329"/>
              <a:gd name="T87" fmla="*/ 66489 h 154"/>
              <a:gd name="T88" fmla="*/ 28662 w 329"/>
              <a:gd name="T89" fmla="*/ 59789 h 154"/>
              <a:gd name="T90" fmla="*/ 20845 w 329"/>
              <a:gd name="T91" fmla="*/ 48450 h 154"/>
              <a:gd name="T92" fmla="*/ 14331 w 329"/>
              <a:gd name="T93" fmla="*/ 41234 h 154"/>
              <a:gd name="T94" fmla="*/ 9554 w 329"/>
              <a:gd name="T95" fmla="*/ 38141 h 154"/>
              <a:gd name="T96" fmla="*/ 1303 w 329"/>
              <a:gd name="T97" fmla="*/ 37626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1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129428 w 306"/>
              <a:gd name="T1" fmla="*/ 96106 h 293"/>
              <a:gd name="T2" fmla="*/ 128992 w 306"/>
              <a:gd name="T3" fmla="*/ 98230 h 293"/>
              <a:gd name="T4" fmla="*/ 126813 w 306"/>
              <a:gd name="T5" fmla="*/ 103009 h 293"/>
              <a:gd name="T6" fmla="*/ 122891 w 306"/>
              <a:gd name="T7" fmla="*/ 105664 h 293"/>
              <a:gd name="T8" fmla="*/ 118533 w 306"/>
              <a:gd name="T9" fmla="*/ 106726 h 293"/>
              <a:gd name="T10" fmla="*/ 114611 w 306"/>
              <a:gd name="T11" fmla="*/ 109911 h 293"/>
              <a:gd name="T12" fmla="*/ 110253 w 306"/>
              <a:gd name="T13" fmla="*/ 121593 h 293"/>
              <a:gd name="T14" fmla="*/ 105460 w 306"/>
              <a:gd name="T15" fmla="*/ 134867 h 293"/>
              <a:gd name="T16" fmla="*/ 100666 w 306"/>
              <a:gd name="T17" fmla="*/ 141770 h 293"/>
              <a:gd name="T18" fmla="*/ 96308 w 306"/>
              <a:gd name="T19" fmla="*/ 144956 h 293"/>
              <a:gd name="T20" fmla="*/ 87157 w 306"/>
              <a:gd name="T21" fmla="*/ 149203 h 293"/>
              <a:gd name="T22" fmla="*/ 71469 w 306"/>
              <a:gd name="T23" fmla="*/ 153982 h 293"/>
              <a:gd name="T24" fmla="*/ 60574 w 306"/>
              <a:gd name="T25" fmla="*/ 155575 h 293"/>
              <a:gd name="T26" fmla="*/ 53601 w 306"/>
              <a:gd name="T27" fmla="*/ 155575 h 293"/>
              <a:gd name="T28" fmla="*/ 46193 w 306"/>
              <a:gd name="T29" fmla="*/ 153982 h 293"/>
              <a:gd name="T30" fmla="*/ 40092 w 306"/>
              <a:gd name="T31" fmla="*/ 151858 h 293"/>
              <a:gd name="T32" fmla="*/ 34863 w 306"/>
              <a:gd name="T33" fmla="*/ 147610 h 293"/>
              <a:gd name="T34" fmla="*/ 30941 w 306"/>
              <a:gd name="T35" fmla="*/ 142301 h 293"/>
              <a:gd name="T36" fmla="*/ 436 w 306"/>
              <a:gd name="T37" fmla="*/ 125310 h 293"/>
              <a:gd name="T38" fmla="*/ 0 w 306"/>
              <a:gd name="T39" fmla="*/ 46726 h 293"/>
              <a:gd name="T40" fmla="*/ 436 w 306"/>
              <a:gd name="T41" fmla="*/ 26018 h 293"/>
              <a:gd name="T42" fmla="*/ 1743 w 306"/>
              <a:gd name="T43" fmla="*/ 18584 h 293"/>
              <a:gd name="T44" fmla="*/ 4794 w 306"/>
              <a:gd name="T45" fmla="*/ 11150 h 293"/>
              <a:gd name="T46" fmla="*/ 8716 w 306"/>
              <a:gd name="T47" fmla="*/ 4248 h 293"/>
              <a:gd name="T48" fmla="*/ 17867 w 306"/>
              <a:gd name="T49" fmla="*/ 1062 h 293"/>
              <a:gd name="T50" fmla="*/ 23097 w 306"/>
              <a:gd name="T51" fmla="*/ 0 h 293"/>
              <a:gd name="T52" fmla="*/ 31376 w 306"/>
              <a:gd name="T53" fmla="*/ 3186 h 293"/>
              <a:gd name="T54" fmla="*/ 34863 w 306"/>
              <a:gd name="T55" fmla="*/ 3717 h 293"/>
              <a:gd name="T56" fmla="*/ 36606 w 306"/>
              <a:gd name="T57" fmla="*/ 2124 h 293"/>
              <a:gd name="T58" fmla="*/ 37913 w 306"/>
              <a:gd name="T59" fmla="*/ 2655 h 293"/>
              <a:gd name="T60" fmla="*/ 39221 w 306"/>
              <a:gd name="T61" fmla="*/ 5841 h 293"/>
              <a:gd name="T62" fmla="*/ 43143 w 306"/>
              <a:gd name="T63" fmla="*/ 10088 h 293"/>
              <a:gd name="T64" fmla="*/ 52730 w 306"/>
              <a:gd name="T65" fmla="*/ 16460 h 293"/>
              <a:gd name="T66" fmla="*/ 64496 w 306"/>
              <a:gd name="T67" fmla="*/ 21770 h 293"/>
              <a:gd name="T68" fmla="*/ 79313 w 306"/>
              <a:gd name="T69" fmla="*/ 31327 h 293"/>
              <a:gd name="T70" fmla="*/ 91515 w 306"/>
              <a:gd name="T71" fmla="*/ 41947 h 293"/>
              <a:gd name="T72" fmla="*/ 105024 w 306"/>
              <a:gd name="T73" fmla="*/ 54159 h 293"/>
              <a:gd name="T74" fmla="*/ 113740 w 306"/>
              <a:gd name="T75" fmla="*/ 62124 h 293"/>
              <a:gd name="T76" fmla="*/ 115919 w 306"/>
              <a:gd name="T77" fmla="*/ 65841 h 293"/>
              <a:gd name="T78" fmla="*/ 122020 w 306"/>
              <a:gd name="T79" fmla="*/ 71681 h 293"/>
              <a:gd name="T80" fmla="*/ 130300 w 306"/>
              <a:gd name="T81" fmla="*/ 80177 h 293"/>
              <a:gd name="T82" fmla="*/ 133350 w 306"/>
              <a:gd name="T83" fmla="*/ 85487 h 293"/>
              <a:gd name="T84" fmla="*/ 132478 w 306"/>
              <a:gd name="T85" fmla="*/ 88141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2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3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103976 w 1037"/>
              <a:gd name="T1" fmla="*/ 326280 h 690"/>
              <a:gd name="T2" fmla="*/ 67151 w 1037"/>
              <a:gd name="T3" fmla="*/ 358278 h 690"/>
              <a:gd name="T4" fmla="*/ 13863 w 1037"/>
              <a:gd name="T5" fmla="*/ 343066 h 690"/>
              <a:gd name="T6" fmla="*/ 29027 w 1037"/>
              <a:gd name="T7" fmla="*/ 332574 h 690"/>
              <a:gd name="T8" fmla="*/ 7798 w 1037"/>
              <a:gd name="T9" fmla="*/ 312641 h 690"/>
              <a:gd name="T10" fmla="*/ 19062 w 1037"/>
              <a:gd name="T11" fmla="*/ 312116 h 690"/>
              <a:gd name="T12" fmla="*/ 29027 w 1037"/>
              <a:gd name="T13" fmla="*/ 297428 h 690"/>
              <a:gd name="T14" fmla="*/ 3466 w 1037"/>
              <a:gd name="T15" fmla="*/ 286413 h 690"/>
              <a:gd name="T16" fmla="*/ 32059 w 1037"/>
              <a:gd name="T17" fmla="*/ 274348 h 690"/>
              <a:gd name="T18" fmla="*/ 0 w 1037"/>
              <a:gd name="T19" fmla="*/ 261758 h 690"/>
              <a:gd name="T20" fmla="*/ 8665 w 1037"/>
              <a:gd name="T21" fmla="*/ 239202 h 690"/>
              <a:gd name="T22" fmla="*/ 16030 w 1037"/>
              <a:gd name="T23" fmla="*/ 241825 h 690"/>
              <a:gd name="T24" fmla="*/ 33359 w 1037"/>
              <a:gd name="T25" fmla="*/ 235530 h 690"/>
              <a:gd name="T26" fmla="*/ 39857 w 1037"/>
              <a:gd name="T27" fmla="*/ 222416 h 690"/>
              <a:gd name="T28" fmla="*/ 56320 w 1037"/>
              <a:gd name="T29" fmla="*/ 214547 h 690"/>
              <a:gd name="T30" fmla="*/ 95311 w 1037"/>
              <a:gd name="T31" fmla="*/ 200384 h 690"/>
              <a:gd name="T32" fmla="*/ 98344 w 1037"/>
              <a:gd name="T33" fmla="*/ 177828 h 690"/>
              <a:gd name="T34" fmla="*/ 122605 w 1037"/>
              <a:gd name="T35" fmla="*/ 170484 h 690"/>
              <a:gd name="T36" fmla="*/ 122172 w 1037"/>
              <a:gd name="T37" fmla="*/ 162615 h 690"/>
              <a:gd name="T38" fmla="*/ 129103 w 1037"/>
              <a:gd name="T39" fmla="*/ 149501 h 690"/>
              <a:gd name="T40" fmla="*/ 145133 w 1037"/>
              <a:gd name="T41" fmla="*/ 127469 h 690"/>
              <a:gd name="T42" fmla="*/ 148599 w 1037"/>
              <a:gd name="T43" fmla="*/ 118552 h 690"/>
              <a:gd name="T44" fmla="*/ 168961 w 1037"/>
              <a:gd name="T45" fmla="*/ 104913 h 690"/>
              <a:gd name="T46" fmla="*/ 167661 w 1037"/>
              <a:gd name="T47" fmla="*/ 82357 h 690"/>
              <a:gd name="T48" fmla="*/ 161596 w 1037"/>
              <a:gd name="T49" fmla="*/ 74488 h 690"/>
              <a:gd name="T50" fmla="*/ 144700 w 1037"/>
              <a:gd name="T51" fmla="*/ 80783 h 690"/>
              <a:gd name="T52" fmla="*/ 168961 w 1037"/>
              <a:gd name="T53" fmla="*/ 54030 h 690"/>
              <a:gd name="T54" fmla="*/ 178059 w 1037"/>
              <a:gd name="T55" fmla="*/ 50358 h 690"/>
              <a:gd name="T56" fmla="*/ 200587 w 1037"/>
              <a:gd name="T57" fmla="*/ 59800 h 690"/>
              <a:gd name="T58" fmla="*/ 201886 w 1037"/>
              <a:gd name="T59" fmla="*/ 47735 h 690"/>
              <a:gd name="T60" fmla="*/ 241744 w 1037"/>
              <a:gd name="T61" fmla="*/ 31998 h 690"/>
              <a:gd name="T62" fmla="*/ 256040 w 1037"/>
              <a:gd name="T63" fmla="*/ 33048 h 690"/>
              <a:gd name="T64" fmla="*/ 279435 w 1037"/>
              <a:gd name="T65" fmla="*/ 28851 h 690"/>
              <a:gd name="T66" fmla="*/ 279435 w 1037"/>
              <a:gd name="T67" fmla="*/ 17311 h 690"/>
              <a:gd name="T68" fmla="*/ 302829 w 1037"/>
              <a:gd name="T69" fmla="*/ 6819 h 690"/>
              <a:gd name="T70" fmla="*/ 305429 w 1037"/>
              <a:gd name="T71" fmla="*/ 15212 h 690"/>
              <a:gd name="T72" fmla="*/ 308461 w 1037"/>
              <a:gd name="T73" fmla="*/ 20983 h 690"/>
              <a:gd name="T74" fmla="*/ 328390 w 1037"/>
              <a:gd name="T75" fmla="*/ 6295 h 690"/>
              <a:gd name="T76" fmla="*/ 353951 w 1037"/>
              <a:gd name="T77" fmla="*/ 3147 h 690"/>
              <a:gd name="T78" fmla="*/ 365648 w 1037"/>
              <a:gd name="T79" fmla="*/ 4197 h 690"/>
              <a:gd name="T80" fmla="*/ 373446 w 1037"/>
              <a:gd name="T81" fmla="*/ 5770 h 690"/>
              <a:gd name="T82" fmla="*/ 400307 w 1037"/>
              <a:gd name="T83" fmla="*/ 3147 h 690"/>
              <a:gd name="T84" fmla="*/ 449262 w 1037"/>
              <a:gd name="T85" fmla="*/ 22556 h 690"/>
              <a:gd name="T86" fmla="*/ 435399 w 1037"/>
              <a:gd name="T87" fmla="*/ 41441 h 690"/>
              <a:gd name="T88" fmla="*/ 402906 w 1037"/>
              <a:gd name="T89" fmla="*/ 28851 h 690"/>
              <a:gd name="T90" fmla="*/ 378212 w 1037"/>
              <a:gd name="T91" fmla="*/ 38818 h 690"/>
              <a:gd name="T92" fmla="*/ 367381 w 1037"/>
              <a:gd name="T93" fmla="*/ 60850 h 690"/>
              <a:gd name="T94" fmla="*/ 351351 w 1037"/>
              <a:gd name="T95" fmla="*/ 58227 h 690"/>
              <a:gd name="T96" fmla="*/ 322758 w 1037"/>
              <a:gd name="T97" fmla="*/ 67144 h 690"/>
              <a:gd name="T98" fmla="*/ 300663 w 1037"/>
              <a:gd name="T99" fmla="*/ 48260 h 690"/>
              <a:gd name="T100" fmla="*/ 268604 w 1037"/>
              <a:gd name="T101" fmla="*/ 58751 h 690"/>
              <a:gd name="T102" fmla="*/ 231346 w 1037"/>
              <a:gd name="T103" fmla="*/ 70292 h 690"/>
              <a:gd name="T104" fmla="*/ 210551 w 1037"/>
              <a:gd name="T105" fmla="*/ 110159 h 690"/>
              <a:gd name="T106" fmla="*/ 186290 w 1037"/>
              <a:gd name="T107" fmla="*/ 146354 h 690"/>
              <a:gd name="T108" fmla="*/ 172860 w 1037"/>
              <a:gd name="T109" fmla="*/ 190942 h 690"/>
              <a:gd name="T110" fmla="*/ 144266 w 1037"/>
              <a:gd name="T111" fmla="*/ 222940 h 690"/>
              <a:gd name="T112" fmla="*/ 153798 w 1037"/>
              <a:gd name="T113" fmla="*/ 260709 h 690"/>
              <a:gd name="T114" fmla="*/ 153364 w 1037"/>
              <a:gd name="T115" fmla="*/ 292707 h 690"/>
              <a:gd name="T116" fmla="*/ 143400 w 1037"/>
              <a:gd name="T117" fmla="*/ 322608 h 690"/>
              <a:gd name="T118" fmla="*/ 127804 w 1037"/>
              <a:gd name="T119" fmla="*/ 338345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4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49212 w 120"/>
              <a:gd name="T1" fmla="*/ 51782 h 173"/>
              <a:gd name="T2" fmla="*/ 37729 w 120"/>
              <a:gd name="T3" fmla="*/ 31383 h 173"/>
              <a:gd name="T4" fmla="*/ 28707 w 120"/>
              <a:gd name="T5" fmla="*/ 14645 h 173"/>
              <a:gd name="T6" fmla="*/ 24606 w 120"/>
              <a:gd name="T7" fmla="*/ 8369 h 173"/>
              <a:gd name="T8" fmla="*/ 21735 w 120"/>
              <a:gd name="T9" fmla="*/ 4184 h 173"/>
              <a:gd name="T10" fmla="*/ 19685 w 120"/>
              <a:gd name="T11" fmla="*/ 2092 h 173"/>
              <a:gd name="T12" fmla="*/ 18455 w 120"/>
              <a:gd name="T13" fmla="*/ 1046 h 173"/>
              <a:gd name="T14" fmla="*/ 17634 w 120"/>
              <a:gd name="T15" fmla="*/ 523 h 173"/>
              <a:gd name="T16" fmla="*/ 15994 w 120"/>
              <a:gd name="T17" fmla="*/ 0 h 173"/>
              <a:gd name="T18" fmla="*/ 13533 w 120"/>
              <a:gd name="T19" fmla="*/ 0 h 173"/>
              <a:gd name="T20" fmla="*/ 11073 w 120"/>
              <a:gd name="T21" fmla="*/ 523 h 173"/>
              <a:gd name="T22" fmla="*/ 9842 w 120"/>
              <a:gd name="T23" fmla="*/ 1569 h 173"/>
              <a:gd name="T24" fmla="*/ 8612 w 120"/>
              <a:gd name="T25" fmla="*/ 2615 h 173"/>
              <a:gd name="T26" fmla="*/ 7792 w 120"/>
              <a:gd name="T27" fmla="*/ 4184 h 173"/>
              <a:gd name="T28" fmla="*/ 6562 w 120"/>
              <a:gd name="T29" fmla="*/ 6277 h 173"/>
              <a:gd name="T30" fmla="*/ 6152 w 120"/>
              <a:gd name="T31" fmla="*/ 7846 h 173"/>
              <a:gd name="T32" fmla="*/ 6152 w 120"/>
              <a:gd name="T33" fmla="*/ 10461 h 173"/>
              <a:gd name="T34" fmla="*/ 5741 w 120"/>
              <a:gd name="T35" fmla="*/ 15691 h 173"/>
              <a:gd name="T36" fmla="*/ 4921 w 120"/>
              <a:gd name="T37" fmla="*/ 21968 h 173"/>
              <a:gd name="T38" fmla="*/ 4101 w 120"/>
              <a:gd name="T39" fmla="*/ 25106 h 173"/>
              <a:gd name="T40" fmla="*/ 3281 w 120"/>
              <a:gd name="T41" fmla="*/ 28244 h 173"/>
              <a:gd name="T42" fmla="*/ 1640 w 120"/>
              <a:gd name="T43" fmla="*/ 31906 h 173"/>
              <a:gd name="T44" fmla="*/ 0 w 120"/>
              <a:gd name="T45" fmla="*/ 35567 h 173"/>
              <a:gd name="T46" fmla="*/ 2051 w 120"/>
              <a:gd name="T47" fmla="*/ 42890 h 173"/>
              <a:gd name="T48" fmla="*/ 4101 w 120"/>
              <a:gd name="T49" fmla="*/ 51782 h 173"/>
              <a:gd name="T50" fmla="*/ 6152 w 120"/>
              <a:gd name="T51" fmla="*/ 60150 h 173"/>
              <a:gd name="T52" fmla="*/ 8202 w 120"/>
              <a:gd name="T53" fmla="*/ 67473 h 173"/>
              <a:gd name="T54" fmla="*/ 9842 w 120"/>
              <a:gd name="T55" fmla="*/ 70088 h 173"/>
              <a:gd name="T56" fmla="*/ 12303 w 120"/>
              <a:gd name="T57" fmla="*/ 72703 h 173"/>
              <a:gd name="T58" fmla="*/ 15174 w 120"/>
              <a:gd name="T59" fmla="*/ 75842 h 173"/>
              <a:gd name="T60" fmla="*/ 18865 w 120"/>
              <a:gd name="T61" fmla="*/ 78980 h 173"/>
              <a:gd name="T62" fmla="*/ 22145 w 120"/>
              <a:gd name="T63" fmla="*/ 82118 h 173"/>
              <a:gd name="T64" fmla="*/ 24606 w 120"/>
              <a:gd name="T65" fmla="*/ 85257 h 173"/>
              <a:gd name="T66" fmla="*/ 25426 w 120"/>
              <a:gd name="T67" fmla="*/ 86303 h 173"/>
              <a:gd name="T68" fmla="*/ 26657 w 120"/>
              <a:gd name="T69" fmla="*/ 87872 h 173"/>
              <a:gd name="T70" fmla="*/ 27067 w 120"/>
              <a:gd name="T71" fmla="*/ 88918 h 173"/>
              <a:gd name="T72" fmla="*/ 27477 w 120"/>
              <a:gd name="T73" fmla="*/ 90487 h 173"/>
              <a:gd name="T74" fmla="*/ 31168 w 120"/>
              <a:gd name="T75" fmla="*/ 87349 h 173"/>
              <a:gd name="T76" fmla="*/ 35269 w 120"/>
              <a:gd name="T77" fmla="*/ 83687 h 173"/>
              <a:gd name="T78" fmla="*/ 38139 w 120"/>
              <a:gd name="T79" fmla="*/ 79503 h 173"/>
              <a:gd name="T80" fmla="*/ 41420 w 120"/>
              <a:gd name="T81" fmla="*/ 74273 h 173"/>
              <a:gd name="T82" fmla="*/ 43471 w 120"/>
              <a:gd name="T83" fmla="*/ 69042 h 173"/>
              <a:gd name="T84" fmla="*/ 45931 w 120"/>
              <a:gd name="T85" fmla="*/ 63289 h 173"/>
              <a:gd name="T86" fmla="*/ 47572 w 120"/>
              <a:gd name="T87" fmla="*/ 57535 h 173"/>
              <a:gd name="T88" fmla="*/ 49212 w 120"/>
              <a:gd name="T89" fmla="*/ 51782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05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84137 w 200"/>
              <a:gd name="T1" fmla="*/ 32965 h 98"/>
              <a:gd name="T2" fmla="*/ 82034 w 200"/>
              <a:gd name="T3" fmla="*/ 33565 h 98"/>
              <a:gd name="T4" fmla="*/ 78247 w 200"/>
              <a:gd name="T5" fmla="*/ 35962 h 98"/>
              <a:gd name="T6" fmla="*/ 74461 w 200"/>
              <a:gd name="T7" fmla="*/ 38959 h 98"/>
              <a:gd name="T8" fmla="*/ 69834 w 200"/>
              <a:gd name="T9" fmla="*/ 43754 h 98"/>
              <a:gd name="T10" fmla="*/ 65206 w 200"/>
              <a:gd name="T11" fmla="*/ 47949 h 98"/>
              <a:gd name="T12" fmla="*/ 60999 w 200"/>
              <a:gd name="T13" fmla="*/ 52145 h 98"/>
              <a:gd name="T14" fmla="*/ 57634 w 200"/>
              <a:gd name="T15" fmla="*/ 55741 h 98"/>
              <a:gd name="T16" fmla="*/ 55951 w 200"/>
              <a:gd name="T17" fmla="*/ 58738 h 98"/>
              <a:gd name="T18" fmla="*/ 53427 w 200"/>
              <a:gd name="T19" fmla="*/ 58738 h 98"/>
              <a:gd name="T20" fmla="*/ 51324 w 200"/>
              <a:gd name="T21" fmla="*/ 58738 h 98"/>
              <a:gd name="T22" fmla="*/ 48799 w 200"/>
              <a:gd name="T23" fmla="*/ 58139 h 98"/>
              <a:gd name="T24" fmla="*/ 46696 w 200"/>
              <a:gd name="T25" fmla="*/ 56940 h 98"/>
              <a:gd name="T26" fmla="*/ 44593 w 200"/>
              <a:gd name="T27" fmla="*/ 55741 h 98"/>
              <a:gd name="T28" fmla="*/ 43331 w 200"/>
              <a:gd name="T29" fmla="*/ 52744 h 98"/>
              <a:gd name="T30" fmla="*/ 42489 w 200"/>
              <a:gd name="T31" fmla="*/ 49148 h 98"/>
              <a:gd name="T32" fmla="*/ 42069 w 200"/>
              <a:gd name="T33" fmla="*/ 44353 h 98"/>
              <a:gd name="T34" fmla="*/ 38282 w 200"/>
              <a:gd name="T35" fmla="*/ 47949 h 98"/>
              <a:gd name="T36" fmla="*/ 34496 w 200"/>
              <a:gd name="T37" fmla="*/ 51546 h 98"/>
              <a:gd name="T38" fmla="*/ 32813 w 200"/>
              <a:gd name="T39" fmla="*/ 53943 h 98"/>
              <a:gd name="T40" fmla="*/ 30289 w 200"/>
              <a:gd name="T41" fmla="*/ 55741 h 98"/>
              <a:gd name="T42" fmla="*/ 28186 w 200"/>
              <a:gd name="T43" fmla="*/ 57539 h 98"/>
              <a:gd name="T44" fmla="*/ 25241 w 200"/>
              <a:gd name="T45" fmla="*/ 58738 h 98"/>
              <a:gd name="T46" fmla="*/ 16407 w 200"/>
              <a:gd name="T47" fmla="*/ 58738 h 98"/>
              <a:gd name="T48" fmla="*/ 14303 w 200"/>
              <a:gd name="T49" fmla="*/ 58738 h 98"/>
              <a:gd name="T50" fmla="*/ 11779 w 200"/>
              <a:gd name="T51" fmla="*/ 56940 h 98"/>
              <a:gd name="T52" fmla="*/ 9255 w 200"/>
              <a:gd name="T53" fmla="*/ 55142 h 98"/>
              <a:gd name="T54" fmla="*/ 6310 w 200"/>
              <a:gd name="T55" fmla="*/ 53344 h 98"/>
              <a:gd name="T56" fmla="*/ 3786 w 200"/>
              <a:gd name="T57" fmla="*/ 50946 h 98"/>
              <a:gd name="T58" fmla="*/ 1683 w 200"/>
              <a:gd name="T59" fmla="*/ 48549 h 98"/>
              <a:gd name="T60" fmla="*/ 421 w 200"/>
              <a:gd name="T61" fmla="*/ 46151 h 98"/>
              <a:gd name="T62" fmla="*/ 0 w 200"/>
              <a:gd name="T63" fmla="*/ 44353 h 98"/>
              <a:gd name="T64" fmla="*/ 2103 w 200"/>
              <a:gd name="T65" fmla="*/ 42555 h 98"/>
              <a:gd name="T66" fmla="*/ 4207 w 200"/>
              <a:gd name="T67" fmla="*/ 40158 h 98"/>
              <a:gd name="T68" fmla="*/ 5890 w 200"/>
              <a:gd name="T69" fmla="*/ 35962 h 98"/>
              <a:gd name="T70" fmla="*/ 8414 w 200"/>
              <a:gd name="T71" fmla="*/ 31766 h 98"/>
              <a:gd name="T72" fmla="*/ 9676 w 200"/>
              <a:gd name="T73" fmla="*/ 26972 h 98"/>
              <a:gd name="T74" fmla="*/ 11358 w 200"/>
              <a:gd name="T75" fmla="*/ 22177 h 98"/>
              <a:gd name="T76" fmla="*/ 12621 w 200"/>
              <a:gd name="T77" fmla="*/ 16782 h 98"/>
              <a:gd name="T78" fmla="*/ 13883 w 200"/>
              <a:gd name="T79" fmla="*/ 11388 h 98"/>
              <a:gd name="T80" fmla="*/ 27765 w 200"/>
              <a:gd name="T81" fmla="*/ 8391 h 98"/>
              <a:gd name="T82" fmla="*/ 43331 w 200"/>
              <a:gd name="T83" fmla="*/ 5394 h 98"/>
              <a:gd name="T84" fmla="*/ 60999 w 200"/>
              <a:gd name="T85" fmla="*/ 2397 h 98"/>
              <a:gd name="T86" fmla="*/ 81192 w 200"/>
              <a:gd name="T87" fmla="*/ 0 h 98"/>
              <a:gd name="T88" fmla="*/ 69834 w 200"/>
              <a:gd name="T89" fmla="*/ 18580 h 98"/>
              <a:gd name="T90" fmla="*/ 69834 w 200"/>
              <a:gd name="T91" fmla="*/ 20378 h 98"/>
              <a:gd name="T92" fmla="*/ 68992 w 200"/>
              <a:gd name="T93" fmla="*/ 22177 h 98"/>
              <a:gd name="T94" fmla="*/ 68151 w 200"/>
              <a:gd name="T95" fmla="*/ 23375 h 98"/>
              <a:gd name="T96" fmla="*/ 67730 w 200"/>
              <a:gd name="T97" fmla="*/ 24574 h 98"/>
              <a:gd name="T98" fmla="*/ 66048 w 200"/>
              <a:gd name="T99" fmla="*/ 26972 h 98"/>
              <a:gd name="T100" fmla="*/ 65627 w 200"/>
              <a:gd name="T101" fmla="*/ 28170 h 98"/>
              <a:gd name="T102" fmla="*/ 65627 w 200"/>
              <a:gd name="T103" fmla="*/ 29369 h 98"/>
              <a:gd name="T104" fmla="*/ 66048 w 200"/>
              <a:gd name="T105" fmla="*/ 29968 h 98"/>
              <a:gd name="T106" fmla="*/ 66889 w 200"/>
              <a:gd name="T107" fmla="*/ 29968 h 98"/>
              <a:gd name="T108" fmla="*/ 68572 w 200"/>
              <a:gd name="T109" fmla="*/ 30568 h 98"/>
              <a:gd name="T110" fmla="*/ 74461 w 200"/>
              <a:gd name="T111" fmla="*/ 31766 h 98"/>
              <a:gd name="T112" fmla="*/ 84137 w 200"/>
              <a:gd name="T113" fmla="*/ 32965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6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57597 h 142"/>
              <a:gd name="T2" fmla="*/ 905 w 186"/>
              <a:gd name="T3" fmla="*/ 59654 h 142"/>
              <a:gd name="T4" fmla="*/ 1357 w 186"/>
              <a:gd name="T5" fmla="*/ 55026 h 142"/>
              <a:gd name="T6" fmla="*/ 1357 w 186"/>
              <a:gd name="T7" fmla="*/ 47826 h 142"/>
              <a:gd name="T8" fmla="*/ 4071 w 186"/>
              <a:gd name="T9" fmla="*/ 42169 h 142"/>
              <a:gd name="T10" fmla="*/ 7690 w 186"/>
              <a:gd name="T11" fmla="*/ 35484 h 142"/>
              <a:gd name="T12" fmla="*/ 9047 w 186"/>
              <a:gd name="T13" fmla="*/ 28799 h 142"/>
              <a:gd name="T14" fmla="*/ 10404 w 186"/>
              <a:gd name="T15" fmla="*/ 23656 h 142"/>
              <a:gd name="T16" fmla="*/ 12666 w 186"/>
              <a:gd name="T17" fmla="*/ 19028 h 142"/>
              <a:gd name="T18" fmla="*/ 15832 w 186"/>
              <a:gd name="T19" fmla="*/ 16456 h 142"/>
              <a:gd name="T20" fmla="*/ 18547 w 186"/>
              <a:gd name="T21" fmla="*/ 19542 h 142"/>
              <a:gd name="T22" fmla="*/ 19451 w 186"/>
              <a:gd name="T23" fmla="*/ 25199 h 142"/>
              <a:gd name="T24" fmla="*/ 21261 w 186"/>
              <a:gd name="T25" fmla="*/ 29827 h 142"/>
              <a:gd name="T26" fmla="*/ 24880 w 186"/>
              <a:gd name="T27" fmla="*/ 33427 h 142"/>
              <a:gd name="T28" fmla="*/ 39355 w 186"/>
              <a:gd name="T29" fmla="*/ 34455 h 142"/>
              <a:gd name="T30" fmla="*/ 35736 w 186"/>
              <a:gd name="T31" fmla="*/ 21085 h 142"/>
              <a:gd name="T32" fmla="*/ 31212 w 186"/>
              <a:gd name="T33" fmla="*/ 18513 h 142"/>
              <a:gd name="T34" fmla="*/ 28498 w 186"/>
              <a:gd name="T35" fmla="*/ 15428 h 142"/>
              <a:gd name="T36" fmla="*/ 27594 w 186"/>
              <a:gd name="T37" fmla="*/ 11828 h 142"/>
              <a:gd name="T38" fmla="*/ 31665 w 186"/>
              <a:gd name="T39" fmla="*/ 8742 h 142"/>
              <a:gd name="T40" fmla="*/ 39355 w 186"/>
              <a:gd name="T41" fmla="*/ 7200 h 142"/>
              <a:gd name="T42" fmla="*/ 44331 w 186"/>
              <a:gd name="T43" fmla="*/ 5143 h 142"/>
              <a:gd name="T44" fmla="*/ 50211 w 186"/>
              <a:gd name="T45" fmla="*/ 3086 h 142"/>
              <a:gd name="T46" fmla="*/ 58806 w 186"/>
              <a:gd name="T47" fmla="*/ 1543 h 142"/>
              <a:gd name="T48" fmla="*/ 66496 w 186"/>
              <a:gd name="T49" fmla="*/ 514 h 142"/>
              <a:gd name="T50" fmla="*/ 71924 w 186"/>
              <a:gd name="T51" fmla="*/ 1029 h 142"/>
              <a:gd name="T52" fmla="*/ 79614 w 186"/>
              <a:gd name="T53" fmla="*/ 514 h 142"/>
              <a:gd name="T54" fmla="*/ 82781 w 186"/>
              <a:gd name="T55" fmla="*/ 5143 h 142"/>
              <a:gd name="T56" fmla="*/ 80519 w 186"/>
              <a:gd name="T57" fmla="*/ 13371 h 142"/>
              <a:gd name="T58" fmla="*/ 76448 w 186"/>
              <a:gd name="T59" fmla="*/ 20570 h 142"/>
              <a:gd name="T60" fmla="*/ 71924 w 186"/>
              <a:gd name="T61" fmla="*/ 26227 h 142"/>
              <a:gd name="T62" fmla="*/ 70115 w 186"/>
              <a:gd name="T63" fmla="*/ 32398 h 142"/>
              <a:gd name="T64" fmla="*/ 69210 w 186"/>
              <a:gd name="T65" fmla="*/ 39084 h 142"/>
              <a:gd name="T66" fmla="*/ 54283 w 186"/>
              <a:gd name="T67" fmla="*/ 73025 h 142"/>
              <a:gd name="T68" fmla="*/ 36188 w 186"/>
              <a:gd name="T69" fmla="*/ 62740 h 142"/>
              <a:gd name="T70" fmla="*/ 15832 w 186"/>
              <a:gd name="T71" fmla="*/ 60168 h 142"/>
              <a:gd name="T72" fmla="*/ 3619 w 186"/>
              <a:gd name="T73" fmla="*/ 58111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7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84138 w 192"/>
              <a:gd name="T1" fmla="*/ 33201 h 105"/>
              <a:gd name="T2" fmla="*/ 82823 w 192"/>
              <a:gd name="T3" fmla="*/ 33746 h 105"/>
              <a:gd name="T4" fmla="*/ 80632 w 192"/>
              <a:gd name="T5" fmla="*/ 34290 h 105"/>
              <a:gd name="T6" fmla="*/ 78879 w 192"/>
              <a:gd name="T7" fmla="*/ 34834 h 105"/>
              <a:gd name="T8" fmla="*/ 77565 w 192"/>
              <a:gd name="T9" fmla="*/ 36467 h 105"/>
              <a:gd name="T10" fmla="*/ 73621 w 192"/>
              <a:gd name="T11" fmla="*/ 39189 h 105"/>
              <a:gd name="T12" fmla="*/ 70115 w 192"/>
              <a:gd name="T13" fmla="*/ 42999 h 105"/>
              <a:gd name="T14" fmla="*/ 67486 w 192"/>
              <a:gd name="T15" fmla="*/ 46809 h 105"/>
              <a:gd name="T16" fmla="*/ 64418 w 192"/>
              <a:gd name="T17" fmla="*/ 50619 h 105"/>
              <a:gd name="T18" fmla="*/ 62665 w 192"/>
              <a:gd name="T19" fmla="*/ 53884 h 105"/>
              <a:gd name="T20" fmla="*/ 60912 w 192"/>
              <a:gd name="T21" fmla="*/ 57150 h 105"/>
              <a:gd name="T22" fmla="*/ 52586 w 192"/>
              <a:gd name="T23" fmla="*/ 52796 h 105"/>
              <a:gd name="T24" fmla="*/ 44698 w 192"/>
              <a:gd name="T25" fmla="*/ 48441 h 105"/>
              <a:gd name="T26" fmla="*/ 37687 w 192"/>
              <a:gd name="T27" fmla="*/ 43543 h 105"/>
              <a:gd name="T28" fmla="*/ 30237 w 192"/>
              <a:gd name="T29" fmla="*/ 38644 h 105"/>
              <a:gd name="T30" fmla="*/ 23226 w 192"/>
              <a:gd name="T31" fmla="*/ 33201 h 105"/>
              <a:gd name="T32" fmla="*/ 15776 w 192"/>
              <a:gd name="T33" fmla="*/ 28847 h 105"/>
              <a:gd name="T34" fmla="*/ 8326 w 192"/>
              <a:gd name="T35" fmla="*/ 23949 h 105"/>
              <a:gd name="T36" fmla="*/ 0 w 192"/>
              <a:gd name="T37" fmla="*/ 20139 h 105"/>
              <a:gd name="T38" fmla="*/ 0 w 192"/>
              <a:gd name="T39" fmla="*/ 7076 h 105"/>
              <a:gd name="T40" fmla="*/ 3068 w 192"/>
              <a:gd name="T41" fmla="*/ 3810 h 105"/>
              <a:gd name="T42" fmla="*/ 7012 w 192"/>
              <a:gd name="T43" fmla="*/ 2177 h 105"/>
              <a:gd name="T44" fmla="*/ 12708 w 192"/>
              <a:gd name="T45" fmla="*/ 544 h 105"/>
              <a:gd name="T46" fmla="*/ 17529 w 192"/>
              <a:gd name="T47" fmla="*/ 0 h 105"/>
              <a:gd name="T48" fmla="*/ 26293 w 192"/>
              <a:gd name="T49" fmla="*/ 1089 h 105"/>
              <a:gd name="T50" fmla="*/ 40754 w 192"/>
              <a:gd name="T51" fmla="*/ 2721 h 105"/>
              <a:gd name="T52" fmla="*/ 48642 w 192"/>
              <a:gd name="T53" fmla="*/ 3810 h 105"/>
              <a:gd name="T54" fmla="*/ 56092 w 192"/>
              <a:gd name="T55" fmla="*/ 3810 h 105"/>
              <a:gd name="T56" fmla="*/ 62665 w 192"/>
              <a:gd name="T57" fmla="*/ 3810 h 105"/>
              <a:gd name="T58" fmla="*/ 67047 w 192"/>
              <a:gd name="T59" fmla="*/ 3266 h 105"/>
              <a:gd name="T60" fmla="*/ 67924 w 192"/>
              <a:gd name="T61" fmla="*/ 5987 h 105"/>
              <a:gd name="T62" fmla="*/ 69677 w 192"/>
              <a:gd name="T63" fmla="*/ 9253 h 105"/>
              <a:gd name="T64" fmla="*/ 70553 w 192"/>
              <a:gd name="T65" fmla="*/ 10886 h 105"/>
              <a:gd name="T66" fmla="*/ 71868 w 192"/>
              <a:gd name="T67" fmla="*/ 12519 h 105"/>
              <a:gd name="T68" fmla="*/ 72306 w 192"/>
              <a:gd name="T69" fmla="*/ 14696 h 105"/>
              <a:gd name="T70" fmla="*/ 72744 w 192"/>
              <a:gd name="T71" fmla="*/ 16873 h 105"/>
              <a:gd name="T72" fmla="*/ 74497 w 192"/>
              <a:gd name="T73" fmla="*/ 17417 h 105"/>
              <a:gd name="T74" fmla="*/ 77565 w 192"/>
              <a:gd name="T75" fmla="*/ 17961 h 105"/>
              <a:gd name="T76" fmla="*/ 78879 w 192"/>
              <a:gd name="T77" fmla="*/ 18506 h 105"/>
              <a:gd name="T78" fmla="*/ 80194 w 192"/>
              <a:gd name="T79" fmla="*/ 18506 h 105"/>
              <a:gd name="T80" fmla="*/ 82385 w 192"/>
              <a:gd name="T81" fmla="*/ 17961 h 105"/>
              <a:gd name="T82" fmla="*/ 84138 w 192"/>
              <a:gd name="T83" fmla="*/ 16873 h 105"/>
              <a:gd name="T84" fmla="*/ 84138 w 192"/>
              <a:gd name="T85" fmla="*/ 33201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8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13752 w 80"/>
              <a:gd name="T1" fmla="*/ 0 h 254"/>
              <a:gd name="T2" fmla="*/ 15418 w 80"/>
              <a:gd name="T3" fmla="*/ 1037 h 254"/>
              <a:gd name="T4" fmla="*/ 16669 w 80"/>
              <a:gd name="T5" fmla="*/ 2075 h 254"/>
              <a:gd name="T6" fmla="*/ 17919 w 80"/>
              <a:gd name="T7" fmla="*/ 3631 h 254"/>
              <a:gd name="T8" fmla="*/ 19169 w 80"/>
              <a:gd name="T9" fmla="*/ 5187 h 254"/>
              <a:gd name="T10" fmla="*/ 21669 w 80"/>
              <a:gd name="T11" fmla="*/ 9337 h 254"/>
              <a:gd name="T12" fmla="*/ 23336 w 80"/>
              <a:gd name="T13" fmla="*/ 12969 h 254"/>
              <a:gd name="T14" fmla="*/ 25836 w 80"/>
              <a:gd name="T15" fmla="*/ 16600 h 254"/>
              <a:gd name="T16" fmla="*/ 27920 w 80"/>
              <a:gd name="T17" fmla="*/ 19712 h 254"/>
              <a:gd name="T18" fmla="*/ 29170 w 80"/>
              <a:gd name="T19" fmla="*/ 20750 h 254"/>
              <a:gd name="T20" fmla="*/ 30420 w 80"/>
              <a:gd name="T21" fmla="*/ 21787 h 254"/>
              <a:gd name="T22" fmla="*/ 31670 w 80"/>
              <a:gd name="T23" fmla="*/ 22306 h 254"/>
              <a:gd name="T24" fmla="*/ 33337 w 80"/>
              <a:gd name="T25" fmla="*/ 22825 h 254"/>
              <a:gd name="T26" fmla="*/ 33337 w 80"/>
              <a:gd name="T27" fmla="*/ 27494 h 254"/>
              <a:gd name="T28" fmla="*/ 33337 w 80"/>
              <a:gd name="T29" fmla="*/ 32162 h 254"/>
              <a:gd name="T30" fmla="*/ 22086 w 80"/>
              <a:gd name="T31" fmla="*/ 131762 h 254"/>
              <a:gd name="T32" fmla="*/ 0 w 80"/>
              <a:gd name="T33" fmla="*/ 48244 h 254"/>
              <a:gd name="T34" fmla="*/ 1667 w 80"/>
              <a:gd name="T35" fmla="*/ 45650 h 254"/>
              <a:gd name="T36" fmla="*/ 4584 w 80"/>
              <a:gd name="T37" fmla="*/ 36831 h 254"/>
              <a:gd name="T38" fmla="*/ 7084 w 80"/>
              <a:gd name="T39" fmla="*/ 29569 h 254"/>
              <a:gd name="T40" fmla="*/ 9168 w 80"/>
              <a:gd name="T41" fmla="*/ 21269 h 254"/>
              <a:gd name="T42" fmla="*/ 11668 w 80"/>
              <a:gd name="T43" fmla="*/ 11931 h 254"/>
              <a:gd name="T44" fmla="*/ 13752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09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47682 w 167"/>
              <a:gd name="T1" fmla="*/ 0 h 259"/>
              <a:gd name="T2" fmla="*/ 69850 w 167"/>
              <a:gd name="T3" fmla="*/ 77904 h 259"/>
              <a:gd name="T4" fmla="*/ 50610 w 167"/>
              <a:gd name="T5" fmla="*/ 130175 h 259"/>
              <a:gd name="T6" fmla="*/ 47264 w 167"/>
              <a:gd name="T7" fmla="*/ 130175 h 259"/>
              <a:gd name="T8" fmla="*/ 44754 w 167"/>
              <a:gd name="T9" fmla="*/ 129170 h 259"/>
              <a:gd name="T10" fmla="*/ 41826 w 167"/>
              <a:gd name="T11" fmla="*/ 127662 h 259"/>
              <a:gd name="T12" fmla="*/ 39735 w 167"/>
              <a:gd name="T13" fmla="*/ 126154 h 259"/>
              <a:gd name="T14" fmla="*/ 37225 w 167"/>
              <a:gd name="T15" fmla="*/ 123139 h 259"/>
              <a:gd name="T16" fmla="*/ 35552 w 167"/>
              <a:gd name="T17" fmla="*/ 120625 h 259"/>
              <a:gd name="T18" fmla="*/ 33461 w 167"/>
              <a:gd name="T19" fmla="*/ 118112 h 259"/>
              <a:gd name="T20" fmla="*/ 31788 w 167"/>
              <a:gd name="T21" fmla="*/ 115097 h 259"/>
              <a:gd name="T22" fmla="*/ 28860 w 167"/>
              <a:gd name="T23" fmla="*/ 109066 h 259"/>
              <a:gd name="T24" fmla="*/ 27187 w 167"/>
              <a:gd name="T25" fmla="*/ 103034 h 259"/>
              <a:gd name="T26" fmla="*/ 25932 w 167"/>
              <a:gd name="T27" fmla="*/ 97506 h 259"/>
              <a:gd name="T28" fmla="*/ 25932 w 167"/>
              <a:gd name="T29" fmla="*/ 92982 h 259"/>
              <a:gd name="T30" fmla="*/ 23004 w 167"/>
              <a:gd name="T31" fmla="*/ 92480 h 259"/>
              <a:gd name="T32" fmla="*/ 21331 w 167"/>
              <a:gd name="T33" fmla="*/ 91977 h 259"/>
              <a:gd name="T34" fmla="*/ 18822 w 167"/>
              <a:gd name="T35" fmla="*/ 91474 h 259"/>
              <a:gd name="T36" fmla="*/ 17567 w 167"/>
              <a:gd name="T37" fmla="*/ 90469 h 259"/>
              <a:gd name="T38" fmla="*/ 16312 w 167"/>
              <a:gd name="T39" fmla="*/ 88961 h 259"/>
              <a:gd name="T40" fmla="*/ 15057 w 167"/>
              <a:gd name="T41" fmla="*/ 87453 h 259"/>
              <a:gd name="T42" fmla="*/ 14221 w 167"/>
              <a:gd name="T43" fmla="*/ 85443 h 259"/>
              <a:gd name="T44" fmla="*/ 13384 w 167"/>
              <a:gd name="T45" fmla="*/ 83935 h 259"/>
              <a:gd name="T46" fmla="*/ 12548 w 167"/>
              <a:gd name="T47" fmla="*/ 79412 h 259"/>
              <a:gd name="T48" fmla="*/ 12130 w 167"/>
              <a:gd name="T49" fmla="*/ 74888 h 259"/>
              <a:gd name="T50" fmla="*/ 11711 w 167"/>
              <a:gd name="T51" fmla="*/ 70365 h 259"/>
              <a:gd name="T52" fmla="*/ 11711 w 167"/>
              <a:gd name="T53" fmla="*/ 64836 h 259"/>
              <a:gd name="T54" fmla="*/ 8784 w 167"/>
              <a:gd name="T55" fmla="*/ 64836 h 259"/>
              <a:gd name="T56" fmla="*/ 6692 w 167"/>
              <a:gd name="T57" fmla="*/ 63831 h 259"/>
              <a:gd name="T58" fmla="*/ 4601 w 167"/>
              <a:gd name="T59" fmla="*/ 62826 h 259"/>
              <a:gd name="T60" fmla="*/ 2928 w 167"/>
              <a:gd name="T61" fmla="*/ 60815 h 259"/>
              <a:gd name="T62" fmla="*/ 2091 w 167"/>
              <a:gd name="T63" fmla="*/ 58805 h 259"/>
              <a:gd name="T64" fmla="*/ 837 w 167"/>
              <a:gd name="T65" fmla="*/ 56292 h 259"/>
              <a:gd name="T66" fmla="*/ 0 w 167"/>
              <a:gd name="T67" fmla="*/ 53779 h 259"/>
              <a:gd name="T68" fmla="*/ 0 w 167"/>
              <a:gd name="T69" fmla="*/ 50763 h 259"/>
              <a:gd name="T70" fmla="*/ 0 w 167"/>
              <a:gd name="T71" fmla="*/ 37695 h 259"/>
              <a:gd name="T72" fmla="*/ 418 w 167"/>
              <a:gd name="T73" fmla="*/ 25130 h 259"/>
              <a:gd name="T74" fmla="*/ 5019 w 167"/>
              <a:gd name="T75" fmla="*/ 26136 h 259"/>
              <a:gd name="T76" fmla="*/ 9202 w 167"/>
              <a:gd name="T77" fmla="*/ 26638 h 259"/>
              <a:gd name="T78" fmla="*/ 13384 w 167"/>
              <a:gd name="T79" fmla="*/ 26638 h 259"/>
              <a:gd name="T80" fmla="*/ 17567 w 167"/>
              <a:gd name="T81" fmla="*/ 26136 h 259"/>
              <a:gd name="T82" fmla="*/ 20913 w 167"/>
              <a:gd name="T83" fmla="*/ 25633 h 259"/>
              <a:gd name="T84" fmla="*/ 24259 w 167"/>
              <a:gd name="T85" fmla="*/ 24628 h 259"/>
              <a:gd name="T86" fmla="*/ 27605 w 167"/>
              <a:gd name="T87" fmla="*/ 23622 h 259"/>
              <a:gd name="T88" fmla="*/ 30533 w 167"/>
              <a:gd name="T89" fmla="*/ 22115 h 259"/>
              <a:gd name="T90" fmla="*/ 33043 w 167"/>
              <a:gd name="T91" fmla="*/ 20104 h 259"/>
              <a:gd name="T92" fmla="*/ 35971 w 167"/>
              <a:gd name="T93" fmla="*/ 18094 h 259"/>
              <a:gd name="T94" fmla="*/ 38062 w 167"/>
              <a:gd name="T95" fmla="*/ 15581 h 259"/>
              <a:gd name="T96" fmla="*/ 40572 w 167"/>
              <a:gd name="T97" fmla="*/ 13068 h 259"/>
              <a:gd name="T98" fmla="*/ 44754 w 167"/>
              <a:gd name="T99" fmla="*/ 6534 h 259"/>
              <a:gd name="T100" fmla="*/ 47682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0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79622 w 225"/>
              <a:gd name="T1" fmla="*/ 35454 h 273"/>
              <a:gd name="T2" fmla="*/ 74458 w 225"/>
              <a:gd name="T3" fmla="*/ 41275 h 273"/>
              <a:gd name="T4" fmla="*/ 68432 w 225"/>
              <a:gd name="T5" fmla="*/ 43392 h 273"/>
              <a:gd name="T6" fmla="*/ 70154 w 225"/>
              <a:gd name="T7" fmla="*/ 49213 h 273"/>
              <a:gd name="T8" fmla="*/ 74888 w 225"/>
              <a:gd name="T9" fmla="*/ 53446 h 273"/>
              <a:gd name="T10" fmla="*/ 83926 w 225"/>
              <a:gd name="T11" fmla="*/ 55563 h 273"/>
              <a:gd name="T12" fmla="*/ 96838 w 225"/>
              <a:gd name="T13" fmla="*/ 56092 h 273"/>
              <a:gd name="T14" fmla="*/ 96838 w 225"/>
              <a:gd name="T15" fmla="*/ 80434 h 273"/>
              <a:gd name="T16" fmla="*/ 96408 w 225"/>
              <a:gd name="T17" fmla="*/ 93134 h 273"/>
              <a:gd name="T18" fmla="*/ 92534 w 225"/>
              <a:gd name="T19" fmla="*/ 98955 h 273"/>
              <a:gd name="T20" fmla="*/ 84787 w 225"/>
              <a:gd name="T21" fmla="*/ 108480 h 273"/>
              <a:gd name="T22" fmla="*/ 82635 w 225"/>
              <a:gd name="T23" fmla="*/ 113242 h 273"/>
              <a:gd name="T24" fmla="*/ 77040 w 225"/>
              <a:gd name="T25" fmla="*/ 115359 h 273"/>
              <a:gd name="T26" fmla="*/ 70584 w 225"/>
              <a:gd name="T27" fmla="*/ 119063 h 273"/>
              <a:gd name="T28" fmla="*/ 68432 w 225"/>
              <a:gd name="T29" fmla="*/ 124884 h 273"/>
              <a:gd name="T30" fmla="*/ 60255 w 225"/>
              <a:gd name="T31" fmla="*/ 128059 h 273"/>
              <a:gd name="T32" fmla="*/ 55090 w 225"/>
              <a:gd name="T33" fmla="*/ 133350 h 273"/>
              <a:gd name="T34" fmla="*/ 43470 w 225"/>
              <a:gd name="T35" fmla="*/ 134938 h 273"/>
              <a:gd name="T36" fmla="*/ 25823 w 225"/>
              <a:gd name="T37" fmla="*/ 138113 h 273"/>
              <a:gd name="T38" fmla="*/ 8177 w 225"/>
              <a:gd name="T39" fmla="*/ 138113 h 273"/>
              <a:gd name="T40" fmla="*/ 0 w 225"/>
              <a:gd name="T41" fmla="*/ 114830 h 273"/>
              <a:gd name="T42" fmla="*/ 9038 w 225"/>
              <a:gd name="T43" fmla="*/ 112184 h 273"/>
              <a:gd name="T44" fmla="*/ 11190 w 225"/>
              <a:gd name="T45" fmla="*/ 108480 h 273"/>
              <a:gd name="T46" fmla="*/ 25823 w 225"/>
              <a:gd name="T47" fmla="*/ 106892 h 273"/>
              <a:gd name="T48" fmla="*/ 30988 w 225"/>
              <a:gd name="T49" fmla="*/ 102130 h 273"/>
              <a:gd name="T50" fmla="*/ 20659 w 225"/>
              <a:gd name="T51" fmla="*/ 104775 h 273"/>
              <a:gd name="T52" fmla="*/ 17216 w 225"/>
              <a:gd name="T53" fmla="*/ 104246 h 273"/>
              <a:gd name="T54" fmla="*/ 16785 w 225"/>
              <a:gd name="T55" fmla="*/ 99484 h 273"/>
              <a:gd name="T56" fmla="*/ 19798 w 225"/>
              <a:gd name="T57" fmla="*/ 91546 h 273"/>
              <a:gd name="T58" fmla="*/ 16785 w 225"/>
              <a:gd name="T59" fmla="*/ 84667 h 273"/>
              <a:gd name="T60" fmla="*/ 6025 w 225"/>
              <a:gd name="T61" fmla="*/ 79375 h 273"/>
              <a:gd name="T62" fmla="*/ 2582 w 225"/>
              <a:gd name="T63" fmla="*/ 68792 h 273"/>
              <a:gd name="T64" fmla="*/ 9469 w 225"/>
              <a:gd name="T65" fmla="*/ 60854 h 273"/>
              <a:gd name="T66" fmla="*/ 15064 w 225"/>
              <a:gd name="T67" fmla="*/ 53975 h 273"/>
              <a:gd name="T68" fmla="*/ 29267 w 225"/>
              <a:gd name="T69" fmla="*/ 49742 h 273"/>
              <a:gd name="T70" fmla="*/ 38735 w 225"/>
              <a:gd name="T71" fmla="*/ 49742 h 273"/>
              <a:gd name="T72" fmla="*/ 43039 w 225"/>
              <a:gd name="T73" fmla="*/ 46567 h 273"/>
              <a:gd name="T74" fmla="*/ 46482 w 225"/>
              <a:gd name="T75" fmla="*/ 27517 h 273"/>
              <a:gd name="T76" fmla="*/ 51647 w 225"/>
              <a:gd name="T77" fmla="*/ 16404 h 273"/>
              <a:gd name="T78" fmla="*/ 55951 w 225"/>
              <a:gd name="T79" fmla="*/ 10583 h 273"/>
              <a:gd name="T80" fmla="*/ 60685 w 225"/>
              <a:gd name="T81" fmla="*/ 3704 h 273"/>
              <a:gd name="T82" fmla="*/ 66711 w 225"/>
              <a:gd name="T83" fmla="*/ 529 h 273"/>
              <a:gd name="T84" fmla="*/ 77040 w 225"/>
              <a:gd name="T85" fmla="*/ 1588 h 273"/>
              <a:gd name="T86" fmla="*/ 83926 w 225"/>
              <a:gd name="T87" fmla="*/ 20108 h 273"/>
              <a:gd name="T88" fmla="*/ 84357 w 225"/>
              <a:gd name="T89" fmla="*/ 24871 h 273"/>
              <a:gd name="T90" fmla="*/ 81774 w 225"/>
              <a:gd name="T91" fmla="*/ 29633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11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124140 w 232"/>
              <a:gd name="T1" fmla="*/ 387376 h 248"/>
              <a:gd name="T2" fmla="*/ 126781 w 232"/>
              <a:gd name="T3" fmla="*/ 382652 h 248"/>
              <a:gd name="T4" fmla="*/ 129423 w 232"/>
              <a:gd name="T5" fmla="*/ 374778 h 248"/>
              <a:gd name="T6" fmla="*/ 132064 w 232"/>
              <a:gd name="T7" fmla="*/ 365330 h 248"/>
              <a:gd name="T8" fmla="*/ 136026 w 232"/>
              <a:gd name="T9" fmla="*/ 363755 h 248"/>
              <a:gd name="T10" fmla="*/ 137346 w 232"/>
              <a:gd name="T11" fmla="*/ 374778 h 248"/>
              <a:gd name="T12" fmla="*/ 139988 w 232"/>
              <a:gd name="T13" fmla="*/ 379502 h 248"/>
              <a:gd name="T14" fmla="*/ 142629 w 232"/>
              <a:gd name="T15" fmla="*/ 381077 h 248"/>
              <a:gd name="T16" fmla="*/ 145270 w 232"/>
              <a:gd name="T17" fmla="*/ 381077 h 248"/>
              <a:gd name="T18" fmla="*/ 149232 w 232"/>
              <a:gd name="T19" fmla="*/ 379502 h 248"/>
              <a:gd name="T20" fmla="*/ 153194 w 232"/>
              <a:gd name="T21" fmla="*/ 374778 h 248"/>
              <a:gd name="T22" fmla="*/ 285258 w 232"/>
              <a:gd name="T23" fmla="*/ 368479 h 248"/>
              <a:gd name="T24" fmla="*/ 281296 w 232"/>
              <a:gd name="T25" fmla="*/ 321238 h 248"/>
              <a:gd name="T26" fmla="*/ 273372 w 232"/>
              <a:gd name="T27" fmla="*/ 217308 h 248"/>
              <a:gd name="T28" fmla="*/ 265448 w 232"/>
              <a:gd name="T29" fmla="*/ 114953 h 248"/>
              <a:gd name="T30" fmla="*/ 261486 w 232"/>
              <a:gd name="T31" fmla="*/ 67712 h 248"/>
              <a:gd name="T32" fmla="*/ 283937 w 232"/>
              <a:gd name="T33" fmla="*/ 69287 h 248"/>
              <a:gd name="T34" fmla="*/ 306388 w 232"/>
              <a:gd name="T35" fmla="*/ 72436 h 248"/>
              <a:gd name="T36" fmla="*/ 212623 w 232"/>
              <a:gd name="T37" fmla="*/ 3149 h 248"/>
              <a:gd name="T38" fmla="*/ 211302 w 232"/>
              <a:gd name="T39" fmla="*/ 12598 h 248"/>
              <a:gd name="T40" fmla="*/ 212623 w 232"/>
              <a:gd name="T41" fmla="*/ 28345 h 248"/>
              <a:gd name="T42" fmla="*/ 129423 w 232"/>
              <a:gd name="T43" fmla="*/ 37793 h 248"/>
              <a:gd name="T44" fmla="*/ 129423 w 232"/>
              <a:gd name="T45" fmla="*/ 116528 h 248"/>
              <a:gd name="T46" fmla="*/ 125461 w 232"/>
              <a:gd name="T47" fmla="*/ 119677 h 248"/>
              <a:gd name="T48" fmla="*/ 114896 w 232"/>
              <a:gd name="T49" fmla="*/ 122826 h 248"/>
              <a:gd name="T50" fmla="*/ 95086 w 232"/>
              <a:gd name="T51" fmla="*/ 129125 h 248"/>
              <a:gd name="T52" fmla="*/ 97727 w 232"/>
              <a:gd name="T53" fmla="*/ 138573 h 248"/>
              <a:gd name="T54" fmla="*/ 103010 w 232"/>
              <a:gd name="T55" fmla="*/ 151171 h 248"/>
              <a:gd name="T56" fmla="*/ 105651 w 232"/>
              <a:gd name="T57" fmla="*/ 165343 h 248"/>
              <a:gd name="T58" fmla="*/ 106972 w 232"/>
              <a:gd name="T59" fmla="*/ 181090 h 248"/>
              <a:gd name="T60" fmla="*/ 11886 w 232"/>
              <a:gd name="T61" fmla="*/ 187389 h 248"/>
              <a:gd name="T62" fmla="*/ 6603 w 232"/>
              <a:gd name="T63" fmla="*/ 204711 h 248"/>
              <a:gd name="T64" fmla="*/ 7924 w 232"/>
              <a:gd name="T65" fmla="*/ 225182 h 248"/>
              <a:gd name="T66" fmla="*/ 10565 w 232"/>
              <a:gd name="T67" fmla="*/ 244078 h 248"/>
              <a:gd name="T68" fmla="*/ 11886 w 232"/>
              <a:gd name="T69" fmla="*/ 264549 h 248"/>
              <a:gd name="T70" fmla="*/ 11886 w 232"/>
              <a:gd name="T71" fmla="*/ 286595 h 248"/>
              <a:gd name="T72" fmla="*/ 10565 w 232"/>
              <a:gd name="T73" fmla="*/ 305491 h 248"/>
              <a:gd name="T74" fmla="*/ 7924 w 232"/>
              <a:gd name="T75" fmla="*/ 324388 h 248"/>
              <a:gd name="T76" fmla="*/ 2641 w 232"/>
              <a:gd name="T77" fmla="*/ 340135 h 248"/>
              <a:gd name="T78" fmla="*/ 2641 w 232"/>
              <a:gd name="T79" fmla="*/ 344859 h 248"/>
              <a:gd name="T80" fmla="*/ 3962 w 232"/>
              <a:gd name="T81" fmla="*/ 346433 h 248"/>
              <a:gd name="T82" fmla="*/ 3962 w 232"/>
              <a:gd name="T83" fmla="*/ 349583 h 248"/>
              <a:gd name="T84" fmla="*/ 9244 w 232"/>
              <a:gd name="T85" fmla="*/ 341709 h 248"/>
              <a:gd name="T86" fmla="*/ 23771 w 232"/>
              <a:gd name="T87" fmla="*/ 335411 h 248"/>
              <a:gd name="T88" fmla="*/ 47543 w 232"/>
              <a:gd name="T89" fmla="*/ 325962 h 248"/>
              <a:gd name="T90" fmla="*/ 59429 w 232"/>
              <a:gd name="T91" fmla="*/ 327537 h 248"/>
              <a:gd name="T92" fmla="*/ 67353 w 232"/>
              <a:gd name="T93" fmla="*/ 333836 h 248"/>
              <a:gd name="T94" fmla="*/ 73956 w 232"/>
              <a:gd name="T95" fmla="*/ 336985 h 248"/>
              <a:gd name="T96" fmla="*/ 81880 w 232"/>
              <a:gd name="T97" fmla="*/ 338560 h 248"/>
              <a:gd name="T98" fmla="*/ 87162 w 232"/>
              <a:gd name="T99" fmla="*/ 344859 h 248"/>
              <a:gd name="T100" fmla="*/ 88483 w 232"/>
              <a:gd name="T101" fmla="*/ 354307 h 248"/>
              <a:gd name="T102" fmla="*/ 92445 w 232"/>
              <a:gd name="T103" fmla="*/ 363755 h 248"/>
              <a:gd name="T104" fmla="*/ 97727 w 232"/>
              <a:gd name="T105" fmla="*/ 370054 h 248"/>
              <a:gd name="T106" fmla="*/ 112254 w 232"/>
              <a:gd name="T107" fmla="*/ 382652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2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39336 w 948"/>
              <a:gd name="T1" fmla="*/ 413248 h 893"/>
              <a:gd name="T2" fmla="*/ 52885 w 948"/>
              <a:gd name="T3" fmla="*/ 413248 h 893"/>
              <a:gd name="T4" fmla="*/ 63811 w 948"/>
              <a:gd name="T5" fmla="*/ 410626 h 893"/>
              <a:gd name="T6" fmla="*/ 81294 w 948"/>
              <a:gd name="T7" fmla="*/ 406955 h 893"/>
              <a:gd name="T8" fmla="*/ 86102 w 948"/>
              <a:gd name="T9" fmla="*/ 426359 h 893"/>
              <a:gd name="T10" fmla="*/ 92658 w 948"/>
              <a:gd name="T11" fmla="*/ 437896 h 893"/>
              <a:gd name="T12" fmla="*/ 98777 w 948"/>
              <a:gd name="T13" fmla="*/ 443665 h 893"/>
              <a:gd name="T14" fmla="*/ 107518 w 948"/>
              <a:gd name="T15" fmla="*/ 445763 h 893"/>
              <a:gd name="T16" fmla="*/ 107518 w 948"/>
              <a:gd name="T17" fmla="*/ 462020 h 893"/>
              <a:gd name="T18" fmla="*/ 142483 w 948"/>
              <a:gd name="T19" fmla="*/ 466215 h 893"/>
              <a:gd name="T20" fmla="*/ 145979 w 948"/>
              <a:gd name="T21" fmla="*/ 459398 h 893"/>
              <a:gd name="T22" fmla="*/ 151661 w 948"/>
              <a:gd name="T23" fmla="*/ 456776 h 893"/>
              <a:gd name="T24" fmla="*/ 152098 w 948"/>
              <a:gd name="T25" fmla="*/ 465691 h 893"/>
              <a:gd name="T26" fmla="*/ 156469 w 948"/>
              <a:gd name="T27" fmla="*/ 468313 h 893"/>
              <a:gd name="T28" fmla="*/ 168270 w 948"/>
              <a:gd name="T29" fmla="*/ 468313 h 893"/>
              <a:gd name="T30" fmla="*/ 175263 w 948"/>
              <a:gd name="T31" fmla="*/ 447860 h 893"/>
              <a:gd name="T32" fmla="*/ 180071 w 948"/>
              <a:gd name="T33" fmla="*/ 413248 h 893"/>
              <a:gd name="T34" fmla="*/ 185315 w 948"/>
              <a:gd name="T35" fmla="*/ 404333 h 893"/>
              <a:gd name="T36" fmla="*/ 197553 w 948"/>
              <a:gd name="T37" fmla="*/ 395418 h 893"/>
              <a:gd name="T38" fmla="*/ 211976 w 948"/>
              <a:gd name="T39" fmla="*/ 389649 h 893"/>
              <a:gd name="T40" fmla="*/ 218969 w 948"/>
              <a:gd name="T41" fmla="*/ 382307 h 893"/>
              <a:gd name="T42" fmla="*/ 225088 w 948"/>
              <a:gd name="T43" fmla="*/ 368148 h 893"/>
              <a:gd name="T44" fmla="*/ 233829 w 948"/>
              <a:gd name="T45" fmla="*/ 350317 h 893"/>
              <a:gd name="T46" fmla="*/ 239074 w 948"/>
              <a:gd name="T47" fmla="*/ 346122 h 893"/>
              <a:gd name="T48" fmla="*/ 250001 w 948"/>
              <a:gd name="T49" fmla="*/ 345597 h 893"/>
              <a:gd name="T50" fmla="*/ 264424 w 948"/>
              <a:gd name="T51" fmla="*/ 337731 h 893"/>
              <a:gd name="T52" fmla="*/ 279284 w 948"/>
              <a:gd name="T53" fmla="*/ 327242 h 893"/>
              <a:gd name="T54" fmla="*/ 294581 w 948"/>
              <a:gd name="T55" fmla="*/ 321474 h 893"/>
              <a:gd name="T56" fmla="*/ 316435 w 948"/>
              <a:gd name="T57" fmla="*/ 319900 h 893"/>
              <a:gd name="T58" fmla="*/ 344407 w 948"/>
              <a:gd name="T59" fmla="*/ 315705 h 893"/>
              <a:gd name="T60" fmla="*/ 356207 w 948"/>
              <a:gd name="T61" fmla="*/ 311509 h 893"/>
              <a:gd name="T62" fmla="*/ 377187 w 948"/>
              <a:gd name="T63" fmla="*/ 309412 h 893"/>
              <a:gd name="T64" fmla="*/ 393795 w 948"/>
              <a:gd name="T65" fmla="*/ 305741 h 893"/>
              <a:gd name="T66" fmla="*/ 399040 w 948"/>
              <a:gd name="T67" fmla="*/ 301021 h 893"/>
              <a:gd name="T68" fmla="*/ 406907 w 948"/>
              <a:gd name="T69" fmla="*/ 285288 h 893"/>
              <a:gd name="T70" fmla="*/ 412152 w 948"/>
              <a:gd name="T71" fmla="*/ 264311 h 893"/>
              <a:gd name="T72" fmla="*/ 414337 w 948"/>
              <a:gd name="T73" fmla="*/ 241761 h 893"/>
              <a:gd name="T74" fmla="*/ 413900 w 948"/>
              <a:gd name="T75" fmla="*/ 220784 h 893"/>
              <a:gd name="T76" fmla="*/ 412152 w 948"/>
              <a:gd name="T77" fmla="*/ 190367 h 893"/>
              <a:gd name="T78" fmla="*/ 402973 w 948"/>
              <a:gd name="T79" fmla="*/ 186696 h 893"/>
              <a:gd name="T80" fmla="*/ 376749 w 948"/>
              <a:gd name="T81" fmla="*/ 168865 h 893"/>
              <a:gd name="T82" fmla="*/ 347029 w 948"/>
              <a:gd name="T83" fmla="*/ 145791 h 893"/>
              <a:gd name="T84" fmla="*/ 322553 w 948"/>
              <a:gd name="T85" fmla="*/ 113276 h 893"/>
              <a:gd name="T86" fmla="*/ 180071 w 948"/>
              <a:gd name="T87" fmla="*/ 6293 h 893"/>
              <a:gd name="T88" fmla="*/ 152098 w 948"/>
              <a:gd name="T89" fmla="*/ 53492 h 893"/>
              <a:gd name="T90" fmla="*/ 165647 w 948"/>
              <a:gd name="T91" fmla="*/ 212393 h 893"/>
              <a:gd name="T92" fmla="*/ 171329 w 948"/>
              <a:gd name="T93" fmla="*/ 296301 h 893"/>
              <a:gd name="T94" fmla="*/ 40647 w 948"/>
              <a:gd name="T95" fmla="*/ 309936 h 893"/>
              <a:gd name="T96" fmla="*/ 34528 w 948"/>
              <a:gd name="T97" fmla="*/ 317803 h 893"/>
              <a:gd name="T98" fmla="*/ 29283 w 948"/>
              <a:gd name="T99" fmla="*/ 319900 h 893"/>
              <a:gd name="T100" fmla="*/ 24913 w 948"/>
              <a:gd name="T101" fmla="*/ 318327 h 893"/>
              <a:gd name="T102" fmla="*/ 21416 w 948"/>
              <a:gd name="T103" fmla="*/ 309936 h 893"/>
              <a:gd name="T104" fmla="*/ 17483 w 948"/>
              <a:gd name="T105" fmla="*/ 304692 h 893"/>
              <a:gd name="T106" fmla="*/ 12675 w 948"/>
              <a:gd name="T107" fmla="*/ 317278 h 893"/>
              <a:gd name="T108" fmla="*/ 6556 w 948"/>
              <a:gd name="T109" fmla="*/ 326718 h 893"/>
              <a:gd name="T110" fmla="*/ 29283 w 948"/>
              <a:gd name="T111" fmla="*/ 384405 h 893"/>
              <a:gd name="T112" fmla="*/ 26661 w 948"/>
              <a:gd name="T113" fmla="*/ 392271 h 893"/>
              <a:gd name="T114" fmla="*/ 27098 w 948"/>
              <a:gd name="T115" fmla="*/ 398564 h 893"/>
              <a:gd name="T116" fmla="*/ 23601 w 948"/>
              <a:gd name="T117" fmla="*/ 413248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3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315023 w 373"/>
              <a:gd name="T1" fmla="*/ 574740 h 370"/>
              <a:gd name="T2" fmla="*/ 322964 w 373"/>
              <a:gd name="T3" fmla="*/ 571608 h 370"/>
              <a:gd name="T4" fmla="*/ 337524 w 373"/>
              <a:gd name="T5" fmla="*/ 576306 h 370"/>
              <a:gd name="T6" fmla="*/ 492388 w 373"/>
              <a:gd name="T7" fmla="*/ 433795 h 370"/>
              <a:gd name="T8" fmla="*/ 488418 w 373"/>
              <a:gd name="T9" fmla="*/ 422833 h 370"/>
              <a:gd name="T10" fmla="*/ 477829 w 373"/>
              <a:gd name="T11" fmla="*/ 413437 h 370"/>
              <a:gd name="T12" fmla="*/ 459298 w 373"/>
              <a:gd name="T13" fmla="*/ 405607 h 370"/>
              <a:gd name="T14" fmla="*/ 448709 w 373"/>
              <a:gd name="T15" fmla="*/ 397776 h 370"/>
              <a:gd name="T16" fmla="*/ 444738 w 373"/>
              <a:gd name="T17" fmla="*/ 386814 h 370"/>
              <a:gd name="T18" fmla="*/ 446062 w 373"/>
              <a:gd name="T19" fmla="*/ 357059 h 370"/>
              <a:gd name="T20" fmla="*/ 446062 w 373"/>
              <a:gd name="T21" fmla="*/ 306946 h 370"/>
              <a:gd name="T22" fmla="*/ 442091 w 373"/>
              <a:gd name="T23" fmla="*/ 263096 h 370"/>
              <a:gd name="T24" fmla="*/ 435473 w 373"/>
              <a:gd name="T25" fmla="*/ 242738 h 370"/>
              <a:gd name="T26" fmla="*/ 427531 w 373"/>
              <a:gd name="T27" fmla="*/ 222379 h 370"/>
              <a:gd name="T28" fmla="*/ 416942 w 373"/>
              <a:gd name="T29" fmla="*/ 170699 h 370"/>
              <a:gd name="T30" fmla="*/ 405029 w 373"/>
              <a:gd name="T31" fmla="*/ 140944 h 370"/>
              <a:gd name="T32" fmla="*/ 393117 w 373"/>
              <a:gd name="T33" fmla="*/ 122152 h 370"/>
              <a:gd name="T34" fmla="*/ 397087 w 373"/>
              <a:gd name="T35" fmla="*/ 98661 h 370"/>
              <a:gd name="T36" fmla="*/ 398411 w 373"/>
              <a:gd name="T37" fmla="*/ 67340 h 370"/>
              <a:gd name="T38" fmla="*/ 399735 w 373"/>
              <a:gd name="T39" fmla="*/ 36019 h 370"/>
              <a:gd name="T40" fmla="*/ 410324 w 373"/>
              <a:gd name="T41" fmla="*/ 10962 h 370"/>
              <a:gd name="T42" fmla="*/ 399735 w 373"/>
              <a:gd name="T43" fmla="*/ 9396 h 370"/>
              <a:gd name="T44" fmla="*/ 367968 w 373"/>
              <a:gd name="T45" fmla="*/ 18793 h 370"/>
              <a:gd name="T46" fmla="*/ 324288 w 373"/>
              <a:gd name="T47" fmla="*/ 18793 h 370"/>
              <a:gd name="T48" fmla="*/ 272667 w 373"/>
              <a:gd name="T49" fmla="*/ 21925 h 370"/>
              <a:gd name="T50" fmla="*/ 222369 w 373"/>
              <a:gd name="T51" fmla="*/ 37585 h 370"/>
              <a:gd name="T52" fmla="*/ 191926 w 373"/>
              <a:gd name="T53" fmla="*/ 50114 h 370"/>
              <a:gd name="T54" fmla="*/ 164129 w 373"/>
              <a:gd name="T55" fmla="*/ 68906 h 370"/>
              <a:gd name="T56" fmla="*/ 162806 w 373"/>
              <a:gd name="T57" fmla="*/ 81435 h 370"/>
              <a:gd name="T58" fmla="*/ 173395 w 373"/>
              <a:gd name="T59" fmla="*/ 139378 h 370"/>
              <a:gd name="T60" fmla="*/ 177366 w 373"/>
              <a:gd name="T61" fmla="*/ 145643 h 370"/>
              <a:gd name="T62" fmla="*/ 186631 w 373"/>
              <a:gd name="T63" fmla="*/ 153473 h 370"/>
              <a:gd name="T64" fmla="*/ 187955 w 373"/>
              <a:gd name="T65" fmla="*/ 159737 h 370"/>
              <a:gd name="T66" fmla="*/ 183984 w 373"/>
              <a:gd name="T67" fmla="*/ 167567 h 370"/>
              <a:gd name="T68" fmla="*/ 169424 w 373"/>
              <a:gd name="T69" fmla="*/ 167567 h 370"/>
              <a:gd name="T70" fmla="*/ 140304 w 373"/>
              <a:gd name="T71" fmla="*/ 176963 h 370"/>
              <a:gd name="T72" fmla="*/ 125744 w 373"/>
              <a:gd name="T73" fmla="*/ 191058 h 370"/>
              <a:gd name="T74" fmla="*/ 119126 w 373"/>
              <a:gd name="T75" fmla="*/ 205152 h 370"/>
              <a:gd name="T76" fmla="*/ 108537 w 373"/>
              <a:gd name="T77" fmla="*/ 214549 h 370"/>
              <a:gd name="T78" fmla="*/ 87359 w 373"/>
              <a:gd name="T79" fmla="*/ 234907 h 370"/>
              <a:gd name="T80" fmla="*/ 67505 w 373"/>
              <a:gd name="T81" fmla="*/ 247436 h 370"/>
              <a:gd name="T82" fmla="*/ 41032 w 373"/>
              <a:gd name="T83" fmla="*/ 250568 h 370"/>
              <a:gd name="T84" fmla="*/ 26472 w 373"/>
              <a:gd name="T85" fmla="*/ 256832 h 370"/>
              <a:gd name="T86" fmla="*/ 10589 w 373"/>
              <a:gd name="T87" fmla="*/ 272492 h 370"/>
              <a:gd name="T88" fmla="*/ 0 w 373"/>
              <a:gd name="T89" fmla="*/ 313210 h 370"/>
              <a:gd name="T90" fmla="*/ 236929 w 373"/>
              <a:gd name="T91" fmla="*/ 518362 h 370"/>
              <a:gd name="T92" fmla="*/ 266049 w 373"/>
              <a:gd name="T93" fmla="*/ 551249 h 370"/>
              <a:gd name="T94" fmla="*/ 303110 w 373"/>
              <a:gd name="T95" fmla="*/ 576306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4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15770 w 877"/>
              <a:gd name="T1" fmla="*/ 74522 h 826"/>
              <a:gd name="T2" fmla="*/ 20151 w 877"/>
              <a:gd name="T3" fmla="*/ 57609 h 826"/>
              <a:gd name="T4" fmla="*/ 20151 w 877"/>
              <a:gd name="T5" fmla="*/ 36997 h 826"/>
              <a:gd name="T6" fmla="*/ 26721 w 877"/>
              <a:gd name="T7" fmla="*/ 33826 h 826"/>
              <a:gd name="T8" fmla="*/ 38987 w 877"/>
              <a:gd name="T9" fmla="*/ 29069 h 826"/>
              <a:gd name="T10" fmla="*/ 43368 w 877"/>
              <a:gd name="T11" fmla="*/ 10571 h 826"/>
              <a:gd name="T12" fmla="*/ 73593 w 877"/>
              <a:gd name="T13" fmla="*/ 3171 h 826"/>
              <a:gd name="T14" fmla="*/ 106010 w 877"/>
              <a:gd name="T15" fmla="*/ 12685 h 826"/>
              <a:gd name="T16" fmla="*/ 119589 w 877"/>
              <a:gd name="T17" fmla="*/ 22727 h 826"/>
              <a:gd name="T18" fmla="*/ 124846 w 877"/>
              <a:gd name="T19" fmla="*/ 41225 h 826"/>
              <a:gd name="T20" fmla="*/ 129226 w 877"/>
              <a:gd name="T21" fmla="*/ 53381 h 826"/>
              <a:gd name="T22" fmla="*/ 142368 w 877"/>
              <a:gd name="T23" fmla="*/ 58138 h 826"/>
              <a:gd name="T24" fmla="*/ 159014 w 877"/>
              <a:gd name="T25" fmla="*/ 57609 h 826"/>
              <a:gd name="T26" fmla="*/ 184422 w 877"/>
              <a:gd name="T27" fmla="*/ 70294 h 826"/>
              <a:gd name="T28" fmla="*/ 209391 w 877"/>
              <a:gd name="T29" fmla="*/ 85621 h 826"/>
              <a:gd name="T30" fmla="*/ 224723 w 877"/>
              <a:gd name="T31" fmla="*/ 87735 h 826"/>
              <a:gd name="T32" fmla="*/ 235674 w 877"/>
              <a:gd name="T33" fmla="*/ 83507 h 826"/>
              <a:gd name="T34" fmla="*/ 240493 w 877"/>
              <a:gd name="T35" fmla="*/ 66594 h 826"/>
              <a:gd name="T36" fmla="*/ 238302 w 877"/>
              <a:gd name="T37" fmla="*/ 54438 h 826"/>
              <a:gd name="T38" fmla="*/ 232608 w 877"/>
              <a:gd name="T39" fmla="*/ 42811 h 826"/>
              <a:gd name="T40" fmla="*/ 236112 w 877"/>
              <a:gd name="T41" fmla="*/ 25898 h 826"/>
              <a:gd name="T42" fmla="*/ 251444 w 877"/>
              <a:gd name="T43" fmla="*/ 17970 h 826"/>
              <a:gd name="T44" fmla="*/ 270280 w 877"/>
              <a:gd name="T45" fmla="*/ 2114 h 826"/>
              <a:gd name="T46" fmla="*/ 284736 w 877"/>
              <a:gd name="T47" fmla="*/ 0 h 826"/>
              <a:gd name="T48" fmla="*/ 298316 w 877"/>
              <a:gd name="T49" fmla="*/ 3171 h 826"/>
              <a:gd name="T50" fmla="*/ 304449 w 877"/>
              <a:gd name="T51" fmla="*/ 12685 h 826"/>
              <a:gd name="T52" fmla="*/ 309267 w 877"/>
              <a:gd name="T53" fmla="*/ 26426 h 826"/>
              <a:gd name="T54" fmla="*/ 318905 w 877"/>
              <a:gd name="T55" fmla="*/ 33297 h 826"/>
              <a:gd name="T56" fmla="*/ 349569 w 877"/>
              <a:gd name="T57" fmla="*/ 37525 h 826"/>
              <a:gd name="T58" fmla="*/ 363586 w 877"/>
              <a:gd name="T59" fmla="*/ 51267 h 826"/>
              <a:gd name="T60" fmla="*/ 365339 w 877"/>
              <a:gd name="T61" fmla="*/ 61837 h 826"/>
              <a:gd name="T62" fmla="*/ 369281 w 877"/>
              <a:gd name="T63" fmla="*/ 73994 h 826"/>
              <a:gd name="T64" fmla="*/ 366215 w 877"/>
              <a:gd name="T65" fmla="*/ 84036 h 826"/>
              <a:gd name="T66" fmla="*/ 360958 w 877"/>
              <a:gd name="T67" fmla="*/ 89849 h 826"/>
              <a:gd name="T68" fmla="*/ 363148 w 877"/>
              <a:gd name="T69" fmla="*/ 109405 h 826"/>
              <a:gd name="T70" fmla="*/ 375852 w 877"/>
              <a:gd name="T71" fmla="*/ 129489 h 826"/>
              <a:gd name="T72" fmla="*/ 383737 w 877"/>
              <a:gd name="T73" fmla="*/ 363097 h 826"/>
              <a:gd name="T74" fmla="*/ 384175 w 877"/>
              <a:gd name="T75" fmla="*/ 391637 h 826"/>
              <a:gd name="T76" fmla="*/ 381109 w 877"/>
              <a:gd name="T77" fmla="*/ 409607 h 826"/>
              <a:gd name="T78" fmla="*/ 371471 w 877"/>
              <a:gd name="T79" fmla="*/ 413835 h 826"/>
              <a:gd name="T80" fmla="*/ 363586 w 877"/>
              <a:gd name="T81" fmla="*/ 424934 h 826"/>
              <a:gd name="T82" fmla="*/ 160328 w 877"/>
              <a:gd name="T83" fmla="*/ 313416 h 826"/>
              <a:gd name="T84" fmla="*/ 144996 w 877"/>
              <a:gd name="T85" fmla="*/ 320815 h 826"/>
              <a:gd name="T86" fmla="*/ 127912 w 877"/>
              <a:gd name="T87" fmla="*/ 330857 h 826"/>
              <a:gd name="T88" fmla="*/ 115209 w 877"/>
              <a:gd name="T89" fmla="*/ 331385 h 826"/>
              <a:gd name="T90" fmla="*/ 100753 w 877"/>
              <a:gd name="T91" fmla="*/ 321872 h 826"/>
              <a:gd name="T92" fmla="*/ 84545 w 877"/>
              <a:gd name="T93" fmla="*/ 309716 h 826"/>
              <a:gd name="T94" fmla="*/ 66584 w 877"/>
              <a:gd name="T95" fmla="*/ 305488 h 826"/>
              <a:gd name="T96" fmla="*/ 60452 w 877"/>
              <a:gd name="T97" fmla="*/ 304959 h 826"/>
              <a:gd name="T98" fmla="*/ 56947 w 877"/>
              <a:gd name="T99" fmla="*/ 292275 h 826"/>
              <a:gd name="T100" fmla="*/ 47748 w 877"/>
              <a:gd name="T101" fmla="*/ 282761 h 826"/>
              <a:gd name="T102" fmla="*/ 27598 w 877"/>
              <a:gd name="T103" fmla="*/ 273248 h 826"/>
              <a:gd name="T104" fmla="*/ 12266 w 877"/>
              <a:gd name="T105" fmla="*/ 263734 h 826"/>
              <a:gd name="T106" fmla="*/ 7009 w 877"/>
              <a:gd name="T107" fmla="*/ 254749 h 826"/>
              <a:gd name="T108" fmla="*/ 6133 w 877"/>
              <a:gd name="T109" fmla="*/ 232023 h 826"/>
              <a:gd name="T110" fmla="*/ 8323 w 877"/>
              <a:gd name="T111" fmla="*/ 186041 h 826"/>
              <a:gd name="T112" fmla="*/ 7447 w 877"/>
              <a:gd name="T113" fmla="*/ 136360 h 826"/>
              <a:gd name="T114" fmla="*/ 1752 w 877"/>
              <a:gd name="T115" fmla="*/ 106762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5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46832 w 206"/>
              <a:gd name="T1" fmla="*/ 229260 h 455"/>
              <a:gd name="T2" fmla="*/ 56834 w 206"/>
              <a:gd name="T3" fmla="*/ 218343 h 455"/>
              <a:gd name="T4" fmla="*/ 63654 w 206"/>
              <a:gd name="T5" fmla="*/ 210025 h 455"/>
              <a:gd name="T6" fmla="*/ 66837 w 206"/>
              <a:gd name="T7" fmla="*/ 202747 h 455"/>
              <a:gd name="T8" fmla="*/ 69111 w 206"/>
              <a:gd name="T9" fmla="*/ 193909 h 455"/>
              <a:gd name="T10" fmla="*/ 70020 w 206"/>
              <a:gd name="T11" fmla="*/ 182992 h 455"/>
              <a:gd name="T12" fmla="*/ 69565 w 206"/>
              <a:gd name="T13" fmla="*/ 174154 h 455"/>
              <a:gd name="T14" fmla="*/ 70929 w 206"/>
              <a:gd name="T15" fmla="*/ 172075 h 455"/>
              <a:gd name="T16" fmla="*/ 76385 w 206"/>
              <a:gd name="T17" fmla="*/ 171035 h 455"/>
              <a:gd name="T18" fmla="*/ 84115 w 206"/>
              <a:gd name="T19" fmla="*/ 168956 h 455"/>
              <a:gd name="T20" fmla="*/ 89116 w 206"/>
              <a:gd name="T21" fmla="*/ 165317 h 455"/>
              <a:gd name="T22" fmla="*/ 92299 w 206"/>
              <a:gd name="T23" fmla="*/ 158039 h 455"/>
              <a:gd name="T24" fmla="*/ 93663 w 206"/>
              <a:gd name="T25" fmla="*/ 145562 h 455"/>
              <a:gd name="T26" fmla="*/ 91844 w 206"/>
              <a:gd name="T27" fmla="*/ 137764 h 455"/>
              <a:gd name="T28" fmla="*/ 87752 w 206"/>
              <a:gd name="T29" fmla="*/ 137244 h 455"/>
              <a:gd name="T30" fmla="*/ 80477 w 206"/>
              <a:gd name="T31" fmla="*/ 133085 h 455"/>
              <a:gd name="T32" fmla="*/ 70475 w 206"/>
              <a:gd name="T33" fmla="*/ 125807 h 455"/>
              <a:gd name="T34" fmla="*/ 63654 w 206"/>
              <a:gd name="T35" fmla="*/ 120089 h 455"/>
              <a:gd name="T36" fmla="*/ 59108 w 206"/>
              <a:gd name="T37" fmla="*/ 118529 h 455"/>
              <a:gd name="T38" fmla="*/ 54106 w 206"/>
              <a:gd name="T39" fmla="*/ 115410 h 455"/>
              <a:gd name="T40" fmla="*/ 45922 w 206"/>
              <a:gd name="T41" fmla="*/ 110211 h 455"/>
              <a:gd name="T42" fmla="*/ 43194 w 206"/>
              <a:gd name="T43" fmla="*/ 107092 h 455"/>
              <a:gd name="T44" fmla="*/ 43194 w 206"/>
              <a:gd name="T45" fmla="*/ 103453 h 455"/>
              <a:gd name="T46" fmla="*/ 47286 w 206"/>
              <a:gd name="T47" fmla="*/ 94095 h 455"/>
              <a:gd name="T48" fmla="*/ 54106 w 206"/>
              <a:gd name="T49" fmla="*/ 82138 h 455"/>
              <a:gd name="T50" fmla="*/ 60926 w 206"/>
              <a:gd name="T51" fmla="*/ 72781 h 455"/>
              <a:gd name="T52" fmla="*/ 61836 w 206"/>
              <a:gd name="T53" fmla="*/ 67062 h 455"/>
              <a:gd name="T54" fmla="*/ 57289 w 206"/>
              <a:gd name="T55" fmla="*/ 60304 h 455"/>
              <a:gd name="T56" fmla="*/ 52288 w 206"/>
              <a:gd name="T57" fmla="*/ 54586 h 455"/>
              <a:gd name="T58" fmla="*/ 49105 w 206"/>
              <a:gd name="T59" fmla="*/ 48347 h 455"/>
              <a:gd name="T60" fmla="*/ 48650 w 206"/>
              <a:gd name="T61" fmla="*/ 43669 h 455"/>
              <a:gd name="T62" fmla="*/ 50469 w 206"/>
              <a:gd name="T63" fmla="*/ 40549 h 455"/>
              <a:gd name="T64" fmla="*/ 52742 w 206"/>
              <a:gd name="T65" fmla="*/ 37430 h 455"/>
              <a:gd name="T66" fmla="*/ 55925 w 206"/>
              <a:gd name="T67" fmla="*/ 35871 h 455"/>
              <a:gd name="T68" fmla="*/ 57289 w 206"/>
              <a:gd name="T69" fmla="*/ 19235 h 455"/>
              <a:gd name="T70" fmla="*/ 50014 w 206"/>
              <a:gd name="T71" fmla="*/ 16636 h 455"/>
              <a:gd name="T72" fmla="*/ 39557 w 206"/>
              <a:gd name="T73" fmla="*/ 10917 h 455"/>
              <a:gd name="T74" fmla="*/ 24098 w 206"/>
              <a:gd name="T75" fmla="*/ 0 h 455"/>
              <a:gd name="T76" fmla="*/ 21370 w 206"/>
              <a:gd name="T77" fmla="*/ 5719 h 455"/>
              <a:gd name="T78" fmla="*/ 15459 w 206"/>
              <a:gd name="T79" fmla="*/ 22874 h 455"/>
              <a:gd name="T80" fmla="*/ 12731 w 206"/>
              <a:gd name="T81" fmla="*/ 36390 h 455"/>
              <a:gd name="T82" fmla="*/ 10003 w 206"/>
              <a:gd name="T83" fmla="*/ 51467 h 455"/>
              <a:gd name="T84" fmla="*/ 9093 w 206"/>
              <a:gd name="T85" fmla="*/ 69142 h 455"/>
              <a:gd name="T86" fmla="*/ 9093 w 206"/>
              <a:gd name="T87" fmla="*/ 89417 h 455"/>
              <a:gd name="T88" fmla="*/ 5456 w 206"/>
              <a:gd name="T89" fmla="*/ 97734 h 455"/>
              <a:gd name="T90" fmla="*/ 3637 w 206"/>
              <a:gd name="T91" fmla="*/ 107092 h 455"/>
              <a:gd name="T92" fmla="*/ 0 w 206"/>
              <a:gd name="T93" fmla="*/ 122168 h 455"/>
              <a:gd name="T94" fmla="*/ 10003 w 206"/>
              <a:gd name="T95" fmla="*/ 134645 h 455"/>
              <a:gd name="T96" fmla="*/ 18642 w 206"/>
              <a:gd name="T97" fmla="*/ 146082 h 455"/>
              <a:gd name="T98" fmla="*/ 25007 w 206"/>
              <a:gd name="T99" fmla="*/ 158558 h 455"/>
              <a:gd name="T100" fmla="*/ 30009 w 206"/>
              <a:gd name="T101" fmla="*/ 171035 h 455"/>
              <a:gd name="T102" fmla="*/ 34101 w 206"/>
              <a:gd name="T103" fmla="*/ 184552 h 455"/>
              <a:gd name="T104" fmla="*/ 37283 w 206"/>
              <a:gd name="T105" fmla="*/ 199628 h 455"/>
              <a:gd name="T106" fmla="*/ 42285 w 206"/>
              <a:gd name="T107" fmla="*/ 236538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6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145866 w 518"/>
              <a:gd name="T1" fmla="*/ 58495 h 406"/>
              <a:gd name="T2" fmla="*/ 145866 w 518"/>
              <a:gd name="T3" fmla="*/ 137729 h 406"/>
              <a:gd name="T4" fmla="*/ 140944 w 518"/>
              <a:gd name="T5" fmla="*/ 140388 h 406"/>
              <a:gd name="T6" fmla="*/ 130206 w 518"/>
              <a:gd name="T7" fmla="*/ 144111 h 406"/>
              <a:gd name="T8" fmla="*/ 110071 w 518"/>
              <a:gd name="T9" fmla="*/ 150492 h 406"/>
              <a:gd name="T10" fmla="*/ 113203 w 518"/>
              <a:gd name="T11" fmla="*/ 160596 h 406"/>
              <a:gd name="T12" fmla="*/ 118572 w 518"/>
              <a:gd name="T13" fmla="*/ 173358 h 406"/>
              <a:gd name="T14" fmla="*/ 120362 w 518"/>
              <a:gd name="T15" fmla="*/ 187716 h 406"/>
              <a:gd name="T16" fmla="*/ 121704 w 518"/>
              <a:gd name="T17" fmla="*/ 203137 h 406"/>
              <a:gd name="T18" fmla="*/ 23267 w 518"/>
              <a:gd name="T19" fmla="*/ 209519 h 406"/>
              <a:gd name="T20" fmla="*/ 9844 w 518"/>
              <a:gd name="T21" fmla="*/ 215900 h 406"/>
              <a:gd name="T22" fmla="*/ 2237 w 518"/>
              <a:gd name="T23" fmla="*/ 214305 h 406"/>
              <a:gd name="T24" fmla="*/ 447 w 518"/>
              <a:gd name="T25" fmla="*/ 211646 h 406"/>
              <a:gd name="T26" fmla="*/ 447 w 518"/>
              <a:gd name="T27" fmla="*/ 204733 h 406"/>
              <a:gd name="T28" fmla="*/ 1790 w 518"/>
              <a:gd name="T29" fmla="*/ 197288 h 406"/>
              <a:gd name="T30" fmla="*/ 4922 w 518"/>
              <a:gd name="T31" fmla="*/ 188248 h 406"/>
              <a:gd name="T32" fmla="*/ 8949 w 518"/>
              <a:gd name="T33" fmla="*/ 181335 h 406"/>
              <a:gd name="T34" fmla="*/ 13423 w 518"/>
              <a:gd name="T35" fmla="*/ 177612 h 406"/>
              <a:gd name="T36" fmla="*/ 17003 w 518"/>
              <a:gd name="T37" fmla="*/ 173358 h 406"/>
              <a:gd name="T38" fmla="*/ 19687 w 518"/>
              <a:gd name="T39" fmla="*/ 168572 h 406"/>
              <a:gd name="T40" fmla="*/ 21925 w 518"/>
              <a:gd name="T41" fmla="*/ 155278 h 406"/>
              <a:gd name="T42" fmla="*/ 25057 w 518"/>
              <a:gd name="T43" fmla="*/ 140920 h 406"/>
              <a:gd name="T44" fmla="*/ 27741 w 518"/>
              <a:gd name="T45" fmla="*/ 136666 h 406"/>
              <a:gd name="T46" fmla="*/ 33111 w 518"/>
              <a:gd name="T47" fmla="*/ 130816 h 406"/>
              <a:gd name="T48" fmla="*/ 41165 w 518"/>
              <a:gd name="T49" fmla="*/ 126562 h 406"/>
              <a:gd name="T50" fmla="*/ 47876 w 518"/>
              <a:gd name="T51" fmla="*/ 122840 h 406"/>
              <a:gd name="T52" fmla="*/ 54588 w 518"/>
              <a:gd name="T53" fmla="*/ 115927 h 406"/>
              <a:gd name="T54" fmla="*/ 60852 w 518"/>
              <a:gd name="T55" fmla="*/ 103696 h 406"/>
              <a:gd name="T56" fmla="*/ 67116 w 518"/>
              <a:gd name="T57" fmla="*/ 82957 h 406"/>
              <a:gd name="T58" fmla="*/ 72486 w 518"/>
              <a:gd name="T59" fmla="*/ 62217 h 406"/>
              <a:gd name="T60" fmla="*/ 76960 w 518"/>
              <a:gd name="T61" fmla="*/ 49987 h 406"/>
              <a:gd name="T62" fmla="*/ 83224 w 518"/>
              <a:gd name="T63" fmla="*/ 38819 h 406"/>
              <a:gd name="T64" fmla="*/ 89936 w 518"/>
              <a:gd name="T65" fmla="*/ 32970 h 406"/>
              <a:gd name="T66" fmla="*/ 95305 w 518"/>
              <a:gd name="T67" fmla="*/ 30311 h 406"/>
              <a:gd name="T68" fmla="*/ 97990 w 518"/>
              <a:gd name="T69" fmla="*/ 23398 h 406"/>
              <a:gd name="T70" fmla="*/ 99780 w 518"/>
              <a:gd name="T71" fmla="*/ 14890 h 406"/>
              <a:gd name="T72" fmla="*/ 102017 w 518"/>
              <a:gd name="T73" fmla="*/ 8508 h 406"/>
              <a:gd name="T74" fmla="*/ 106939 w 518"/>
              <a:gd name="T75" fmla="*/ 4254 h 406"/>
              <a:gd name="T76" fmla="*/ 228643 w 518"/>
              <a:gd name="T77" fmla="*/ 0 h 406"/>
              <a:gd name="T78" fmla="*/ 230433 w 518"/>
              <a:gd name="T79" fmla="*/ 24462 h 406"/>
              <a:gd name="T80" fmla="*/ 231775 w 518"/>
              <a:gd name="T81" fmla="*/ 58495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7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14522 w 446"/>
              <a:gd name="T1" fmla="*/ 32098 h 178"/>
              <a:gd name="T2" fmla="*/ 17512 w 446"/>
              <a:gd name="T3" fmla="*/ 22100 h 178"/>
              <a:gd name="T4" fmla="*/ 29045 w 446"/>
              <a:gd name="T5" fmla="*/ 19469 h 178"/>
              <a:gd name="T6" fmla="*/ 34170 w 446"/>
              <a:gd name="T7" fmla="*/ 9471 h 178"/>
              <a:gd name="T8" fmla="*/ 30753 w 446"/>
              <a:gd name="T9" fmla="*/ 7367 h 178"/>
              <a:gd name="T10" fmla="*/ 25628 w 446"/>
              <a:gd name="T11" fmla="*/ 0 h 178"/>
              <a:gd name="T12" fmla="*/ 36306 w 446"/>
              <a:gd name="T13" fmla="*/ 5262 h 178"/>
              <a:gd name="T14" fmla="*/ 46130 w 446"/>
              <a:gd name="T15" fmla="*/ 20521 h 178"/>
              <a:gd name="T16" fmla="*/ 53391 w 446"/>
              <a:gd name="T17" fmla="*/ 32624 h 178"/>
              <a:gd name="T18" fmla="*/ 59371 w 446"/>
              <a:gd name="T19" fmla="*/ 35255 h 178"/>
              <a:gd name="T20" fmla="*/ 67059 w 446"/>
              <a:gd name="T21" fmla="*/ 33150 h 178"/>
              <a:gd name="T22" fmla="*/ 77311 w 446"/>
              <a:gd name="T23" fmla="*/ 23679 h 178"/>
              <a:gd name="T24" fmla="*/ 87562 w 446"/>
              <a:gd name="T25" fmla="*/ 12102 h 178"/>
              <a:gd name="T26" fmla="*/ 93969 w 446"/>
              <a:gd name="T27" fmla="*/ 16312 h 178"/>
              <a:gd name="T28" fmla="*/ 153340 w 446"/>
              <a:gd name="T29" fmla="*/ 5788 h 178"/>
              <a:gd name="T30" fmla="*/ 160601 w 446"/>
              <a:gd name="T31" fmla="*/ 12102 h 178"/>
              <a:gd name="T32" fmla="*/ 169143 w 446"/>
              <a:gd name="T33" fmla="*/ 11576 h 178"/>
              <a:gd name="T34" fmla="*/ 176405 w 446"/>
              <a:gd name="T35" fmla="*/ 19469 h 178"/>
              <a:gd name="T36" fmla="*/ 177259 w 446"/>
              <a:gd name="T37" fmla="*/ 22626 h 178"/>
              <a:gd name="T38" fmla="*/ 183239 w 446"/>
              <a:gd name="T39" fmla="*/ 28414 h 178"/>
              <a:gd name="T40" fmla="*/ 189219 w 446"/>
              <a:gd name="T41" fmla="*/ 35781 h 178"/>
              <a:gd name="T42" fmla="*/ 190500 w 446"/>
              <a:gd name="T43" fmla="*/ 42095 h 178"/>
              <a:gd name="T44" fmla="*/ 187083 w 446"/>
              <a:gd name="T45" fmla="*/ 50514 h 178"/>
              <a:gd name="T46" fmla="*/ 176405 w 446"/>
              <a:gd name="T47" fmla="*/ 58407 h 178"/>
              <a:gd name="T48" fmla="*/ 169571 w 446"/>
              <a:gd name="T49" fmla="*/ 63143 h 178"/>
              <a:gd name="T50" fmla="*/ 156330 w 446"/>
              <a:gd name="T51" fmla="*/ 64721 h 178"/>
              <a:gd name="T52" fmla="*/ 128139 w 446"/>
              <a:gd name="T53" fmla="*/ 76824 h 178"/>
              <a:gd name="T54" fmla="*/ 99948 w 446"/>
              <a:gd name="T55" fmla="*/ 89979 h 178"/>
              <a:gd name="T56" fmla="*/ 84999 w 446"/>
              <a:gd name="T57" fmla="*/ 93662 h 178"/>
              <a:gd name="T58" fmla="*/ 75602 w 446"/>
              <a:gd name="T59" fmla="*/ 91557 h 178"/>
              <a:gd name="T60" fmla="*/ 73466 w 446"/>
              <a:gd name="T61" fmla="*/ 86295 h 178"/>
              <a:gd name="T62" fmla="*/ 72612 w 446"/>
              <a:gd name="T63" fmla="*/ 84717 h 178"/>
              <a:gd name="T64" fmla="*/ 66632 w 446"/>
              <a:gd name="T65" fmla="*/ 84717 h 178"/>
              <a:gd name="T66" fmla="*/ 59371 w 446"/>
              <a:gd name="T67" fmla="*/ 84191 h 178"/>
              <a:gd name="T68" fmla="*/ 42713 w 446"/>
              <a:gd name="T69" fmla="*/ 77350 h 178"/>
              <a:gd name="T70" fmla="*/ 36306 w 446"/>
              <a:gd name="T71" fmla="*/ 72088 h 178"/>
              <a:gd name="T72" fmla="*/ 34598 w 446"/>
              <a:gd name="T73" fmla="*/ 65774 h 178"/>
              <a:gd name="T74" fmla="*/ 37160 w 446"/>
              <a:gd name="T75" fmla="*/ 58407 h 178"/>
              <a:gd name="T76" fmla="*/ 11533 w 446"/>
              <a:gd name="T77" fmla="*/ 54198 h 178"/>
              <a:gd name="T78" fmla="*/ 3844 w 446"/>
              <a:gd name="T79" fmla="*/ 55250 h 178"/>
              <a:gd name="T80" fmla="*/ 0 w 446"/>
              <a:gd name="T81" fmla="*/ 42095 h 178"/>
              <a:gd name="T82" fmla="*/ 25628 w 446"/>
              <a:gd name="T83" fmla="*/ 45252 h 178"/>
              <a:gd name="T84" fmla="*/ 37160 w 446"/>
              <a:gd name="T85" fmla="*/ 42095 h 178"/>
              <a:gd name="T86" fmla="*/ 9824 w 446"/>
              <a:gd name="T87" fmla="*/ 35781 h 178"/>
              <a:gd name="T88" fmla="*/ 6834 w 446"/>
              <a:gd name="T89" fmla="*/ 28941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8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57150 h 73"/>
              <a:gd name="T2" fmla="*/ 1021 w 28"/>
              <a:gd name="T3" fmla="*/ 36795 h 73"/>
              <a:gd name="T4" fmla="*/ 3062 w 28"/>
              <a:gd name="T5" fmla="*/ 21921 h 73"/>
              <a:gd name="T6" fmla="*/ 3572 w 28"/>
              <a:gd name="T7" fmla="*/ 15658 h 73"/>
              <a:gd name="T8" fmla="*/ 3062 w 28"/>
              <a:gd name="T9" fmla="*/ 10177 h 73"/>
              <a:gd name="T10" fmla="*/ 2041 w 28"/>
              <a:gd name="T11" fmla="*/ 5480 h 73"/>
              <a:gd name="T12" fmla="*/ 0 w 28"/>
              <a:gd name="T13" fmla="*/ 0 h 73"/>
              <a:gd name="T14" fmla="*/ 14288 w 28"/>
              <a:gd name="T15" fmla="*/ 0 h 73"/>
              <a:gd name="T16" fmla="*/ 11226 w 28"/>
              <a:gd name="T17" fmla="*/ 12526 h 73"/>
              <a:gd name="T18" fmla="*/ 8675 w 28"/>
              <a:gd name="T19" fmla="*/ 23486 h 73"/>
              <a:gd name="T20" fmla="*/ 6123 w 28"/>
              <a:gd name="T21" fmla="*/ 33664 h 73"/>
              <a:gd name="T22" fmla="*/ 3572 w 28"/>
              <a:gd name="T23" fmla="*/ 43058 h 73"/>
              <a:gd name="T24" fmla="*/ 0 w 28"/>
              <a:gd name="T25" fmla="*/ 57150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19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185394 w 531"/>
              <a:gd name="T1" fmla="*/ 106002 h 757"/>
              <a:gd name="T2" fmla="*/ 179642 w 531"/>
              <a:gd name="T3" fmla="*/ 115401 h 757"/>
              <a:gd name="T4" fmla="*/ 178757 w 531"/>
              <a:gd name="T5" fmla="*/ 123756 h 757"/>
              <a:gd name="T6" fmla="*/ 169022 w 531"/>
              <a:gd name="T7" fmla="*/ 143598 h 757"/>
              <a:gd name="T8" fmla="*/ 143802 w 531"/>
              <a:gd name="T9" fmla="*/ 159786 h 757"/>
              <a:gd name="T10" fmla="*/ 111502 w 531"/>
              <a:gd name="T11" fmla="*/ 184850 h 757"/>
              <a:gd name="T12" fmla="*/ 104865 w 531"/>
              <a:gd name="T13" fmla="*/ 192683 h 757"/>
              <a:gd name="T14" fmla="*/ 108404 w 531"/>
              <a:gd name="T15" fmla="*/ 198949 h 757"/>
              <a:gd name="T16" fmla="*/ 106192 w 531"/>
              <a:gd name="T17" fmla="*/ 221402 h 757"/>
              <a:gd name="T18" fmla="*/ 105750 w 531"/>
              <a:gd name="T19" fmla="*/ 234457 h 757"/>
              <a:gd name="T20" fmla="*/ 115926 w 531"/>
              <a:gd name="T21" fmla="*/ 244378 h 757"/>
              <a:gd name="T22" fmla="*/ 141589 w 531"/>
              <a:gd name="T23" fmla="*/ 253255 h 757"/>
              <a:gd name="T24" fmla="*/ 146899 w 531"/>
              <a:gd name="T25" fmla="*/ 263699 h 757"/>
              <a:gd name="T26" fmla="*/ 137165 w 531"/>
              <a:gd name="T27" fmla="*/ 277275 h 757"/>
              <a:gd name="T28" fmla="*/ 120351 w 531"/>
              <a:gd name="T29" fmla="*/ 285630 h 757"/>
              <a:gd name="T30" fmla="*/ 117254 w 531"/>
              <a:gd name="T31" fmla="*/ 292418 h 757"/>
              <a:gd name="T32" fmla="*/ 111502 w 531"/>
              <a:gd name="T33" fmla="*/ 329493 h 757"/>
              <a:gd name="T34" fmla="*/ 105750 w 531"/>
              <a:gd name="T35" fmla="*/ 376489 h 757"/>
              <a:gd name="T36" fmla="*/ 76547 w 531"/>
              <a:gd name="T37" fmla="*/ 379622 h 757"/>
              <a:gd name="T38" fmla="*/ 67255 w 531"/>
              <a:gd name="T39" fmla="*/ 385366 h 757"/>
              <a:gd name="T40" fmla="*/ 67697 w 531"/>
              <a:gd name="T41" fmla="*/ 395287 h 757"/>
              <a:gd name="T42" fmla="*/ 46902 w 531"/>
              <a:gd name="T43" fmla="*/ 395287 h 757"/>
              <a:gd name="T44" fmla="*/ 42034 w 531"/>
              <a:gd name="T45" fmla="*/ 392676 h 757"/>
              <a:gd name="T46" fmla="*/ 31415 w 531"/>
              <a:gd name="T47" fmla="*/ 374922 h 757"/>
              <a:gd name="T48" fmla="*/ 18141 w 531"/>
              <a:gd name="T49" fmla="*/ 334192 h 757"/>
              <a:gd name="T50" fmla="*/ 15044 w 531"/>
              <a:gd name="T51" fmla="*/ 311739 h 757"/>
              <a:gd name="T52" fmla="*/ 6195 w 531"/>
              <a:gd name="T53" fmla="*/ 305995 h 757"/>
              <a:gd name="T54" fmla="*/ 8407 w 531"/>
              <a:gd name="T55" fmla="*/ 292941 h 757"/>
              <a:gd name="T56" fmla="*/ 15929 w 531"/>
              <a:gd name="T57" fmla="*/ 280931 h 757"/>
              <a:gd name="T58" fmla="*/ 23451 w 531"/>
              <a:gd name="T59" fmla="*/ 263177 h 757"/>
              <a:gd name="T60" fmla="*/ 26990 w 531"/>
              <a:gd name="T61" fmla="*/ 245945 h 757"/>
              <a:gd name="T62" fmla="*/ 28318 w 531"/>
              <a:gd name="T63" fmla="*/ 230279 h 757"/>
              <a:gd name="T64" fmla="*/ 25663 w 531"/>
              <a:gd name="T65" fmla="*/ 213048 h 757"/>
              <a:gd name="T66" fmla="*/ 19026 w 531"/>
              <a:gd name="T67" fmla="*/ 196860 h 757"/>
              <a:gd name="T68" fmla="*/ 32743 w 531"/>
              <a:gd name="T69" fmla="*/ 144120 h 757"/>
              <a:gd name="T70" fmla="*/ 45574 w 531"/>
              <a:gd name="T71" fmla="*/ 143598 h 757"/>
              <a:gd name="T72" fmla="*/ 49999 w 531"/>
              <a:gd name="T73" fmla="*/ 122189 h 757"/>
              <a:gd name="T74" fmla="*/ 60618 w 531"/>
              <a:gd name="T75" fmla="*/ 100258 h 757"/>
              <a:gd name="T76" fmla="*/ 79644 w 531"/>
              <a:gd name="T77" fmla="*/ 75715 h 757"/>
              <a:gd name="T78" fmla="*/ 87608 w 531"/>
              <a:gd name="T79" fmla="*/ 57962 h 757"/>
              <a:gd name="T80" fmla="*/ 100882 w 531"/>
              <a:gd name="T81" fmla="*/ 31331 h 757"/>
              <a:gd name="T82" fmla="*/ 110174 w 531"/>
              <a:gd name="T83" fmla="*/ 22454 h 757"/>
              <a:gd name="T84" fmla="*/ 136722 w 531"/>
              <a:gd name="T85" fmla="*/ 15143 h 757"/>
              <a:gd name="T86" fmla="*/ 162828 w 531"/>
              <a:gd name="T87" fmla="*/ 6788 h 757"/>
              <a:gd name="T88" fmla="*/ 177429 w 531"/>
              <a:gd name="T89" fmla="*/ 2611 h 757"/>
              <a:gd name="T90" fmla="*/ 190703 w 531"/>
              <a:gd name="T91" fmla="*/ 16710 h 757"/>
              <a:gd name="T92" fmla="*/ 202207 w 531"/>
              <a:gd name="T93" fmla="*/ 21931 h 757"/>
              <a:gd name="T94" fmla="*/ 226986 w 531"/>
              <a:gd name="T95" fmla="*/ 57962 h 757"/>
              <a:gd name="T96" fmla="*/ 233623 w 531"/>
              <a:gd name="T97" fmla="*/ 78326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0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41462 h 51"/>
              <a:gd name="T2" fmla="*/ 2699 w 60"/>
              <a:gd name="T3" fmla="*/ 33618 h 51"/>
              <a:gd name="T4" fmla="*/ 6747 w 60"/>
              <a:gd name="T5" fmla="*/ 21291 h 51"/>
              <a:gd name="T6" fmla="*/ 8996 w 60"/>
              <a:gd name="T7" fmla="*/ 14568 h 51"/>
              <a:gd name="T8" fmla="*/ 12145 w 60"/>
              <a:gd name="T9" fmla="*/ 8965 h 51"/>
              <a:gd name="T10" fmla="*/ 14843 w 60"/>
              <a:gd name="T11" fmla="*/ 4482 h 51"/>
              <a:gd name="T12" fmla="*/ 17992 w 60"/>
              <a:gd name="T13" fmla="*/ 0 h 51"/>
              <a:gd name="T14" fmla="*/ 22490 w 60"/>
              <a:gd name="T15" fmla="*/ 7844 h 51"/>
              <a:gd name="T16" fmla="*/ 26988 w 60"/>
              <a:gd name="T17" fmla="*/ 14568 h 51"/>
              <a:gd name="T18" fmla="*/ 26538 w 60"/>
              <a:gd name="T19" fmla="*/ 22412 h 51"/>
              <a:gd name="T20" fmla="*/ 25189 w 60"/>
              <a:gd name="T21" fmla="*/ 32497 h 51"/>
              <a:gd name="T22" fmla="*/ 24289 w 60"/>
              <a:gd name="T23" fmla="*/ 38100 h 51"/>
              <a:gd name="T24" fmla="*/ 23390 w 60"/>
              <a:gd name="T25" fmla="*/ 42582 h 51"/>
              <a:gd name="T26" fmla="*/ 22040 w 60"/>
              <a:gd name="T27" fmla="*/ 47065 h 51"/>
              <a:gd name="T28" fmla="*/ 20241 w 60"/>
              <a:gd name="T29" fmla="*/ 50426 h 51"/>
              <a:gd name="T30" fmla="*/ 18442 w 60"/>
              <a:gd name="T31" fmla="*/ 53788 h 51"/>
              <a:gd name="T32" fmla="*/ 16643 w 60"/>
              <a:gd name="T33" fmla="*/ 56029 h 51"/>
              <a:gd name="T34" fmla="*/ 13944 w 60"/>
              <a:gd name="T35" fmla="*/ 57150 h 51"/>
              <a:gd name="T36" fmla="*/ 12145 w 60"/>
              <a:gd name="T37" fmla="*/ 57150 h 51"/>
              <a:gd name="T38" fmla="*/ 8996 w 60"/>
              <a:gd name="T39" fmla="*/ 56029 h 51"/>
              <a:gd name="T40" fmla="*/ 6747 w 60"/>
              <a:gd name="T41" fmla="*/ 52668 h 51"/>
              <a:gd name="T42" fmla="*/ 3149 w 60"/>
              <a:gd name="T43" fmla="*/ 48185 h 51"/>
              <a:gd name="T44" fmla="*/ 0 w 60"/>
              <a:gd name="T45" fmla="*/ 41462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1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25544 w 66"/>
              <a:gd name="T1" fmla="*/ 53788 h 51"/>
              <a:gd name="T2" fmla="*/ 18184 w 66"/>
              <a:gd name="T3" fmla="*/ 56029 h 51"/>
              <a:gd name="T4" fmla="*/ 9525 w 66"/>
              <a:gd name="T5" fmla="*/ 57150 h 51"/>
              <a:gd name="T6" fmla="*/ 7360 w 66"/>
              <a:gd name="T7" fmla="*/ 56029 h 51"/>
              <a:gd name="T8" fmla="*/ 5628 w 66"/>
              <a:gd name="T9" fmla="*/ 54909 h 51"/>
              <a:gd name="T10" fmla="*/ 4330 w 66"/>
              <a:gd name="T11" fmla="*/ 53788 h 51"/>
              <a:gd name="T12" fmla="*/ 3031 w 66"/>
              <a:gd name="T13" fmla="*/ 51547 h 51"/>
              <a:gd name="T14" fmla="*/ 1299 w 66"/>
              <a:gd name="T15" fmla="*/ 48185 h 51"/>
              <a:gd name="T16" fmla="*/ 433 w 66"/>
              <a:gd name="T17" fmla="*/ 44824 h 51"/>
              <a:gd name="T18" fmla="*/ 0 w 66"/>
              <a:gd name="T19" fmla="*/ 39221 h 51"/>
              <a:gd name="T20" fmla="*/ 0 w 66"/>
              <a:gd name="T21" fmla="*/ 33618 h 51"/>
              <a:gd name="T22" fmla="*/ 1732 w 66"/>
              <a:gd name="T23" fmla="*/ 32497 h 51"/>
              <a:gd name="T24" fmla="*/ 4330 w 66"/>
              <a:gd name="T25" fmla="*/ 30256 h 51"/>
              <a:gd name="T26" fmla="*/ 6061 w 66"/>
              <a:gd name="T27" fmla="*/ 26894 h 51"/>
              <a:gd name="T28" fmla="*/ 8226 w 66"/>
              <a:gd name="T29" fmla="*/ 22412 h 51"/>
              <a:gd name="T30" fmla="*/ 11257 w 66"/>
              <a:gd name="T31" fmla="*/ 11206 h 51"/>
              <a:gd name="T32" fmla="*/ 14288 w 66"/>
              <a:gd name="T33" fmla="*/ 0 h 51"/>
              <a:gd name="T34" fmla="*/ 19916 w 66"/>
              <a:gd name="T35" fmla="*/ 1121 h 51"/>
              <a:gd name="T36" fmla="*/ 22514 w 66"/>
              <a:gd name="T37" fmla="*/ 2241 h 51"/>
              <a:gd name="T38" fmla="*/ 24245 w 66"/>
              <a:gd name="T39" fmla="*/ 3362 h 51"/>
              <a:gd name="T40" fmla="*/ 28575 w 66"/>
              <a:gd name="T41" fmla="*/ 0 h 51"/>
              <a:gd name="T42" fmla="*/ 28142 w 66"/>
              <a:gd name="T43" fmla="*/ 14568 h 51"/>
              <a:gd name="T44" fmla="*/ 27276 w 66"/>
              <a:gd name="T45" fmla="*/ 26894 h 51"/>
              <a:gd name="T46" fmla="*/ 25977 w 66"/>
              <a:gd name="T47" fmla="*/ 40341 h 51"/>
              <a:gd name="T48" fmla="*/ 25544 w 66"/>
              <a:gd name="T49" fmla="*/ 53788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2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33981 h 74"/>
              <a:gd name="T2" fmla="*/ 8991 w 113"/>
              <a:gd name="T3" fmla="*/ 57150 h 74"/>
              <a:gd name="T4" fmla="*/ 16634 w 113"/>
              <a:gd name="T5" fmla="*/ 53289 h 74"/>
              <a:gd name="T6" fmla="*/ 22927 w 113"/>
              <a:gd name="T7" fmla="*/ 50199 h 74"/>
              <a:gd name="T8" fmla="*/ 28772 w 113"/>
              <a:gd name="T9" fmla="*/ 45566 h 74"/>
              <a:gd name="T10" fmla="*/ 33267 w 113"/>
              <a:gd name="T11" fmla="*/ 40932 h 74"/>
              <a:gd name="T12" fmla="*/ 35065 w 113"/>
              <a:gd name="T13" fmla="*/ 37843 h 74"/>
              <a:gd name="T14" fmla="*/ 37313 w 113"/>
              <a:gd name="T15" fmla="*/ 34753 h 74"/>
              <a:gd name="T16" fmla="*/ 38662 w 113"/>
              <a:gd name="T17" fmla="*/ 31664 h 74"/>
              <a:gd name="T18" fmla="*/ 39561 w 113"/>
              <a:gd name="T19" fmla="*/ 28575 h 74"/>
              <a:gd name="T20" fmla="*/ 40460 w 113"/>
              <a:gd name="T21" fmla="*/ 24714 h 74"/>
              <a:gd name="T22" fmla="*/ 40910 w 113"/>
              <a:gd name="T23" fmla="*/ 20080 h 74"/>
              <a:gd name="T24" fmla="*/ 41809 w 113"/>
              <a:gd name="T25" fmla="*/ 14674 h 74"/>
              <a:gd name="T26" fmla="*/ 42258 w 113"/>
              <a:gd name="T27" fmla="*/ 10040 h 74"/>
              <a:gd name="T28" fmla="*/ 44506 w 113"/>
              <a:gd name="T29" fmla="*/ 9268 h 74"/>
              <a:gd name="T30" fmla="*/ 47653 w 113"/>
              <a:gd name="T31" fmla="*/ 6951 h 74"/>
              <a:gd name="T32" fmla="*/ 48552 w 113"/>
              <a:gd name="T33" fmla="*/ 5406 h 74"/>
              <a:gd name="T34" fmla="*/ 49901 w 113"/>
              <a:gd name="T35" fmla="*/ 3861 h 74"/>
              <a:gd name="T36" fmla="*/ 50350 w 113"/>
              <a:gd name="T37" fmla="*/ 2317 h 74"/>
              <a:gd name="T38" fmla="*/ 50800 w 113"/>
              <a:gd name="T39" fmla="*/ 0 h 74"/>
              <a:gd name="T40" fmla="*/ 44057 w 113"/>
              <a:gd name="T41" fmla="*/ 3089 h 74"/>
              <a:gd name="T42" fmla="*/ 36864 w 113"/>
              <a:gd name="T43" fmla="*/ 6178 h 74"/>
              <a:gd name="T44" fmla="*/ 29221 w 113"/>
              <a:gd name="T45" fmla="*/ 10040 h 74"/>
              <a:gd name="T46" fmla="*/ 22028 w 113"/>
              <a:gd name="T47" fmla="*/ 14674 h 74"/>
              <a:gd name="T48" fmla="*/ 8991 w 113"/>
              <a:gd name="T49" fmla="*/ 25486 h 74"/>
              <a:gd name="T50" fmla="*/ 0 w 113"/>
              <a:gd name="T51" fmla="*/ 33981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3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42752 w 746"/>
              <a:gd name="T1" fmla="*/ 235613 h 469"/>
              <a:gd name="T2" fmla="*/ 23557 w 746"/>
              <a:gd name="T3" fmla="*/ 229358 h 469"/>
              <a:gd name="T4" fmla="*/ 9161 w 746"/>
              <a:gd name="T5" fmla="*/ 223624 h 469"/>
              <a:gd name="T6" fmla="*/ 2181 w 746"/>
              <a:gd name="T7" fmla="*/ 215284 h 469"/>
              <a:gd name="T8" fmla="*/ 0 w 746"/>
              <a:gd name="T9" fmla="*/ 189221 h 469"/>
              <a:gd name="T10" fmla="*/ 2181 w 746"/>
              <a:gd name="T11" fmla="*/ 161072 h 469"/>
              <a:gd name="T12" fmla="*/ 10034 w 746"/>
              <a:gd name="T13" fmla="*/ 142306 h 469"/>
              <a:gd name="T14" fmla="*/ 24430 w 746"/>
              <a:gd name="T15" fmla="*/ 118849 h 469"/>
              <a:gd name="T16" fmla="*/ 52785 w 746"/>
              <a:gd name="T17" fmla="*/ 106339 h 469"/>
              <a:gd name="T18" fmla="*/ 72416 w 746"/>
              <a:gd name="T19" fmla="*/ 97999 h 469"/>
              <a:gd name="T20" fmla="*/ 102517 w 746"/>
              <a:gd name="T21" fmla="*/ 90179 h 469"/>
              <a:gd name="T22" fmla="*/ 114296 w 746"/>
              <a:gd name="T23" fmla="*/ 79754 h 469"/>
              <a:gd name="T24" fmla="*/ 116477 w 746"/>
              <a:gd name="T25" fmla="*/ 70893 h 469"/>
              <a:gd name="T26" fmla="*/ 127383 w 746"/>
              <a:gd name="T27" fmla="*/ 62552 h 469"/>
              <a:gd name="T28" fmla="*/ 144833 w 746"/>
              <a:gd name="T29" fmla="*/ 59946 h 469"/>
              <a:gd name="T30" fmla="*/ 156611 w 746"/>
              <a:gd name="T31" fmla="*/ 52648 h 469"/>
              <a:gd name="T32" fmla="*/ 169698 w 746"/>
              <a:gd name="T33" fmla="*/ 34925 h 469"/>
              <a:gd name="T34" fmla="*/ 185403 w 746"/>
              <a:gd name="T35" fmla="*/ 11468 h 469"/>
              <a:gd name="T36" fmla="*/ 196309 w 746"/>
              <a:gd name="T37" fmla="*/ 3128 h 469"/>
              <a:gd name="T38" fmla="*/ 212014 w 746"/>
              <a:gd name="T39" fmla="*/ 0 h 469"/>
              <a:gd name="T40" fmla="*/ 221175 w 746"/>
              <a:gd name="T41" fmla="*/ 15117 h 469"/>
              <a:gd name="T42" fmla="*/ 232081 w 746"/>
              <a:gd name="T43" fmla="*/ 27627 h 469"/>
              <a:gd name="T44" fmla="*/ 241242 w 746"/>
              <a:gd name="T45" fmla="*/ 55776 h 469"/>
              <a:gd name="T46" fmla="*/ 252584 w 746"/>
              <a:gd name="T47" fmla="*/ 82882 h 469"/>
              <a:gd name="T48" fmla="*/ 267417 w 746"/>
              <a:gd name="T49" fmla="*/ 89658 h 469"/>
              <a:gd name="T50" fmla="*/ 273960 w 746"/>
              <a:gd name="T51" fmla="*/ 100605 h 469"/>
              <a:gd name="T52" fmla="*/ 283558 w 746"/>
              <a:gd name="T53" fmla="*/ 121456 h 469"/>
              <a:gd name="T54" fmla="*/ 306242 w 746"/>
              <a:gd name="T55" fmla="*/ 145434 h 469"/>
              <a:gd name="T56" fmla="*/ 323256 w 746"/>
              <a:gd name="T57" fmla="*/ 164200 h 469"/>
              <a:gd name="T58" fmla="*/ 310169 w 746"/>
              <a:gd name="T59" fmla="*/ 179838 h 469"/>
              <a:gd name="T60" fmla="*/ 301444 w 746"/>
              <a:gd name="T61" fmla="*/ 178274 h 469"/>
              <a:gd name="T62" fmla="*/ 296209 w 746"/>
              <a:gd name="T63" fmla="*/ 167327 h 469"/>
              <a:gd name="T64" fmla="*/ 283994 w 746"/>
              <a:gd name="T65" fmla="*/ 172019 h 469"/>
              <a:gd name="T66" fmla="*/ 278759 w 746"/>
              <a:gd name="T67" fmla="*/ 183487 h 469"/>
              <a:gd name="T68" fmla="*/ 263491 w 746"/>
              <a:gd name="T69" fmla="*/ 185572 h 469"/>
              <a:gd name="T70" fmla="*/ 241242 w 746"/>
              <a:gd name="T71" fmla="*/ 185572 h 469"/>
              <a:gd name="T72" fmla="*/ 227719 w 746"/>
              <a:gd name="T73" fmla="*/ 190263 h 469"/>
              <a:gd name="T74" fmla="*/ 216376 w 746"/>
              <a:gd name="T75" fmla="*/ 201731 h 469"/>
              <a:gd name="T76" fmla="*/ 212014 w 746"/>
              <a:gd name="T77" fmla="*/ 205380 h 469"/>
              <a:gd name="T78" fmla="*/ 185839 w 746"/>
              <a:gd name="T79" fmla="*/ 208507 h 469"/>
              <a:gd name="T80" fmla="*/ 172752 w 746"/>
              <a:gd name="T81" fmla="*/ 204337 h 469"/>
              <a:gd name="T82" fmla="*/ 152249 w 746"/>
              <a:gd name="T83" fmla="*/ 184529 h 469"/>
              <a:gd name="T84" fmla="*/ 139161 w 746"/>
              <a:gd name="T85" fmla="*/ 179838 h 469"/>
              <a:gd name="T86" fmla="*/ 126947 w 746"/>
              <a:gd name="T87" fmla="*/ 185050 h 469"/>
              <a:gd name="T88" fmla="*/ 116041 w 746"/>
              <a:gd name="T89" fmla="*/ 196518 h 469"/>
              <a:gd name="T90" fmla="*/ 99027 w 746"/>
              <a:gd name="T91" fmla="*/ 227794 h 469"/>
              <a:gd name="T92" fmla="*/ 65436 w 746"/>
              <a:gd name="T93" fmla="*/ 228837 h 469"/>
              <a:gd name="T94" fmla="*/ 58893 w 746"/>
              <a:gd name="T95" fmla="*/ 233528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4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393935 w 1145"/>
              <a:gd name="T1" fmla="*/ 29905 h 1053"/>
              <a:gd name="T2" fmla="*/ 433678 w 1145"/>
              <a:gd name="T3" fmla="*/ 34626 h 1053"/>
              <a:gd name="T4" fmla="*/ 471674 w 1145"/>
              <a:gd name="T5" fmla="*/ 42496 h 1053"/>
              <a:gd name="T6" fmla="*/ 491764 w 1145"/>
              <a:gd name="T7" fmla="*/ 91813 h 1053"/>
              <a:gd name="T8" fmla="*/ 494821 w 1145"/>
              <a:gd name="T9" fmla="*/ 110700 h 1053"/>
              <a:gd name="T10" fmla="*/ 462066 w 1145"/>
              <a:gd name="T11" fmla="*/ 142703 h 1053"/>
              <a:gd name="T12" fmla="*/ 456388 w 1145"/>
              <a:gd name="T13" fmla="*/ 188872 h 1053"/>
              <a:gd name="T14" fmla="*/ 438046 w 1145"/>
              <a:gd name="T15" fmla="*/ 230843 h 1053"/>
              <a:gd name="T16" fmla="*/ 432368 w 1145"/>
              <a:gd name="T17" fmla="*/ 249730 h 1053"/>
              <a:gd name="T18" fmla="*/ 445033 w 1145"/>
              <a:gd name="T19" fmla="*/ 302195 h 1053"/>
              <a:gd name="T20" fmla="*/ 448090 w 1145"/>
              <a:gd name="T21" fmla="*/ 348364 h 1053"/>
              <a:gd name="T22" fmla="*/ 457262 w 1145"/>
              <a:gd name="T23" fmla="*/ 383515 h 1053"/>
              <a:gd name="T24" fmla="*/ 471237 w 1145"/>
              <a:gd name="T25" fmla="*/ 401353 h 1053"/>
              <a:gd name="T26" fmla="*/ 476915 w 1145"/>
              <a:gd name="T27" fmla="*/ 432831 h 1053"/>
              <a:gd name="T28" fmla="*/ 454205 w 1145"/>
              <a:gd name="T29" fmla="*/ 442799 h 1053"/>
              <a:gd name="T30" fmla="*/ 435425 w 1145"/>
              <a:gd name="T31" fmla="*/ 449095 h 1053"/>
              <a:gd name="T32" fmla="*/ 419266 w 1145"/>
              <a:gd name="T33" fmla="*/ 520447 h 1053"/>
              <a:gd name="T34" fmla="*/ 406164 w 1145"/>
              <a:gd name="T35" fmla="*/ 538285 h 1053"/>
              <a:gd name="T36" fmla="*/ 393935 w 1145"/>
              <a:gd name="T37" fmla="*/ 540908 h 1053"/>
              <a:gd name="T38" fmla="*/ 366858 w 1145"/>
              <a:gd name="T39" fmla="*/ 552450 h 1053"/>
              <a:gd name="T40" fmla="*/ 341527 w 1145"/>
              <a:gd name="T41" fmla="*/ 544056 h 1053"/>
              <a:gd name="T42" fmla="*/ 324494 w 1145"/>
              <a:gd name="T43" fmla="*/ 531989 h 1053"/>
              <a:gd name="T44" fmla="*/ 308772 w 1145"/>
              <a:gd name="T45" fmla="*/ 523070 h 1053"/>
              <a:gd name="T46" fmla="*/ 294360 w 1145"/>
              <a:gd name="T47" fmla="*/ 517299 h 1053"/>
              <a:gd name="T48" fmla="*/ 265535 w 1145"/>
              <a:gd name="T49" fmla="*/ 517824 h 1053"/>
              <a:gd name="T50" fmla="*/ 259421 w 1145"/>
              <a:gd name="T51" fmla="*/ 494215 h 1053"/>
              <a:gd name="T52" fmla="*/ 251123 w 1145"/>
              <a:gd name="T53" fmla="*/ 463785 h 1053"/>
              <a:gd name="T54" fmla="*/ 257674 w 1145"/>
              <a:gd name="T55" fmla="*/ 443849 h 1053"/>
              <a:gd name="T56" fmla="*/ 257674 w 1145"/>
              <a:gd name="T57" fmla="*/ 408698 h 1053"/>
              <a:gd name="T58" fmla="*/ 198278 w 1145"/>
              <a:gd name="T59" fmla="*/ 396106 h 1053"/>
              <a:gd name="T60" fmla="*/ 193474 w 1145"/>
              <a:gd name="T61" fmla="*/ 411845 h 1053"/>
              <a:gd name="T62" fmla="*/ 172947 w 1145"/>
              <a:gd name="T63" fmla="*/ 428634 h 1053"/>
              <a:gd name="T64" fmla="*/ 147180 w 1145"/>
              <a:gd name="T65" fmla="*/ 418141 h 1053"/>
              <a:gd name="T66" fmla="*/ 129710 w 1145"/>
              <a:gd name="T67" fmla="*/ 371448 h 1053"/>
              <a:gd name="T68" fmla="*/ 1310 w 1145"/>
              <a:gd name="T69" fmla="*/ 352036 h 1053"/>
              <a:gd name="T70" fmla="*/ 19653 w 1145"/>
              <a:gd name="T71" fmla="*/ 349937 h 1053"/>
              <a:gd name="T72" fmla="*/ 11355 w 1145"/>
              <a:gd name="T73" fmla="*/ 331050 h 1053"/>
              <a:gd name="T74" fmla="*/ 32755 w 1145"/>
              <a:gd name="T75" fmla="*/ 322656 h 1053"/>
              <a:gd name="T76" fmla="*/ 63327 w 1145"/>
              <a:gd name="T77" fmla="*/ 322131 h 1053"/>
              <a:gd name="T78" fmla="*/ 79923 w 1145"/>
              <a:gd name="T79" fmla="*/ 325279 h 1053"/>
              <a:gd name="T80" fmla="*/ 96082 w 1145"/>
              <a:gd name="T81" fmla="*/ 301146 h 1053"/>
              <a:gd name="T82" fmla="*/ 113551 w 1145"/>
              <a:gd name="T83" fmla="*/ 291177 h 1053"/>
              <a:gd name="T84" fmla="*/ 122723 w 1145"/>
              <a:gd name="T85" fmla="*/ 230843 h 1053"/>
              <a:gd name="T86" fmla="*/ 151110 w 1145"/>
              <a:gd name="T87" fmla="*/ 194118 h 1053"/>
              <a:gd name="T88" fmla="*/ 161592 w 1145"/>
              <a:gd name="T89" fmla="*/ 144802 h 1053"/>
              <a:gd name="T90" fmla="*/ 162466 w 1145"/>
              <a:gd name="T91" fmla="*/ 94436 h 1053"/>
              <a:gd name="T92" fmla="*/ 167270 w 1145"/>
              <a:gd name="T93" fmla="*/ 64007 h 1053"/>
              <a:gd name="T94" fmla="*/ 192164 w 1145"/>
              <a:gd name="T95" fmla="*/ 18363 h 1053"/>
              <a:gd name="T96" fmla="*/ 214437 w 1145"/>
              <a:gd name="T97" fmla="*/ 15739 h 1053"/>
              <a:gd name="T98" fmla="*/ 243698 w 1145"/>
              <a:gd name="T99" fmla="*/ 40398 h 1053"/>
              <a:gd name="T100" fmla="*/ 278200 w 1145"/>
              <a:gd name="T101" fmla="*/ 38299 h 1053"/>
              <a:gd name="T102" fmla="*/ 292613 w 1145"/>
              <a:gd name="T103" fmla="*/ 23084 h 1053"/>
              <a:gd name="T104" fmla="*/ 320564 w 1145"/>
              <a:gd name="T105" fmla="*/ 17838 h 1053"/>
              <a:gd name="T106" fmla="*/ 347205 w 1145"/>
              <a:gd name="T107" fmla="*/ 8919 h 1053"/>
              <a:gd name="T108" fmla="*/ 361617 w 1145"/>
              <a:gd name="T109" fmla="*/ 4197 h 1053"/>
              <a:gd name="T110" fmla="*/ 375156 w 1145"/>
              <a:gd name="T111" fmla="*/ 12591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5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53340 w 125"/>
              <a:gd name="T1" fmla="*/ 0 h 81"/>
              <a:gd name="T2" fmla="*/ 53784 w 125"/>
              <a:gd name="T3" fmla="*/ 18521 h 81"/>
              <a:gd name="T4" fmla="*/ 55118 w 125"/>
              <a:gd name="T5" fmla="*/ 31554 h 81"/>
              <a:gd name="T6" fmla="*/ 55562 w 125"/>
              <a:gd name="T7" fmla="*/ 36356 h 81"/>
              <a:gd name="T8" fmla="*/ 55562 w 125"/>
              <a:gd name="T9" fmla="*/ 40472 h 81"/>
              <a:gd name="T10" fmla="*/ 55562 w 125"/>
              <a:gd name="T11" fmla="*/ 44588 h 81"/>
              <a:gd name="T12" fmla="*/ 54673 w 125"/>
              <a:gd name="T13" fmla="*/ 47331 h 81"/>
              <a:gd name="T14" fmla="*/ 52895 w 125"/>
              <a:gd name="T15" fmla="*/ 49389 h 81"/>
              <a:gd name="T16" fmla="*/ 49784 w 125"/>
              <a:gd name="T17" fmla="*/ 50761 h 81"/>
              <a:gd name="T18" fmla="*/ 45783 w 125"/>
              <a:gd name="T19" fmla="*/ 52133 h 81"/>
              <a:gd name="T20" fmla="*/ 40449 w 125"/>
              <a:gd name="T21" fmla="*/ 52819 h 81"/>
              <a:gd name="T22" fmla="*/ 25336 w 125"/>
              <a:gd name="T23" fmla="*/ 54191 h 81"/>
              <a:gd name="T24" fmla="*/ 3111 w 125"/>
              <a:gd name="T25" fmla="*/ 55563 h 81"/>
              <a:gd name="T26" fmla="*/ 2222 w 125"/>
              <a:gd name="T27" fmla="*/ 54191 h 81"/>
              <a:gd name="T28" fmla="*/ 1333 w 125"/>
              <a:gd name="T29" fmla="*/ 49389 h 81"/>
              <a:gd name="T30" fmla="*/ 444 w 125"/>
              <a:gd name="T31" fmla="*/ 40472 h 81"/>
              <a:gd name="T32" fmla="*/ 0 w 125"/>
              <a:gd name="T33" fmla="*/ 29496 h 81"/>
              <a:gd name="T34" fmla="*/ 0 w 125"/>
              <a:gd name="T35" fmla="*/ 25381 h 81"/>
              <a:gd name="T36" fmla="*/ 444 w 125"/>
              <a:gd name="T37" fmla="*/ 21265 h 81"/>
              <a:gd name="T38" fmla="*/ 889 w 125"/>
              <a:gd name="T39" fmla="*/ 17149 h 81"/>
              <a:gd name="T40" fmla="*/ 1778 w 125"/>
              <a:gd name="T41" fmla="*/ 13719 h 81"/>
              <a:gd name="T42" fmla="*/ 3556 w 125"/>
              <a:gd name="T43" fmla="*/ 10289 h 81"/>
              <a:gd name="T44" fmla="*/ 4889 w 125"/>
              <a:gd name="T45" fmla="*/ 6860 h 81"/>
              <a:gd name="T46" fmla="*/ 6223 w 125"/>
              <a:gd name="T47" fmla="*/ 3430 h 81"/>
              <a:gd name="T48" fmla="*/ 8890 w 125"/>
              <a:gd name="T49" fmla="*/ 0 h 81"/>
              <a:gd name="T50" fmla="*/ 53340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6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112475 w 355"/>
              <a:gd name="T1" fmla="*/ 7794 h 388"/>
              <a:gd name="T2" fmla="*/ 110329 w 355"/>
              <a:gd name="T3" fmla="*/ 19226 h 388"/>
              <a:gd name="T4" fmla="*/ 113334 w 355"/>
              <a:gd name="T5" fmla="*/ 26501 h 388"/>
              <a:gd name="T6" fmla="*/ 121491 w 355"/>
              <a:gd name="T7" fmla="*/ 31177 h 388"/>
              <a:gd name="T8" fmla="*/ 136945 w 355"/>
              <a:gd name="T9" fmla="*/ 28579 h 388"/>
              <a:gd name="T10" fmla="*/ 142526 w 355"/>
              <a:gd name="T11" fmla="*/ 29618 h 388"/>
              <a:gd name="T12" fmla="*/ 145961 w 355"/>
              <a:gd name="T13" fmla="*/ 35334 h 388"/>
              <a:gd name="T14" fmla="*/ 148107 w 355"/>
              <a:gd name="T15" fmla="*/ 43129 h 388"/>
              <a:gd name="T16" fmla="*/ 150683 w 355"/>
              <a:gd name="T17" fmla="*/ 48844 h 388"/>
              <a:gd name="T18" fmla="*/ 148107 w 355"/>
              <a:gd name="T19" fmla="*/ 56119 h 388"/>
              <a:gd name="T20" fmla="*/ 137375 w 355"/>
              <a:gd name="T21" fmla="*/ 70668 h 388"/>
              <a:gd name="T22" fmla="*/ 149395 w 355"/>
              <a:gd name="T23" fmla="*/ 90934 h 388"/>
              <a:gd name="T24" fmla="*/ 152400 w 355"/>
              <a:gd name="T25" fmla="*/ 104963 h 388"/>
              <a:gd name="T26" fmla="*/ 151541 w 355"/>
              <a:gd name="T27" fmla="*/ 113797 h 388"/>
              <a:gd name="T28" fmla="*/ 148107 w 355"/>
              <a:gd name="T29" fmla="*/ 131984 h 388"/>
              <a:gd name="T30" fmla="*/ 142955 w 355"/>
              <a:gd name="T31" fmla="*/ 140817 h 388"/>
              <a:gd name="T32" fmla="*/ 133940 w 355"/>
              <a:gd name="T33" fmla="*/ 145494 h 388"/>
              <a:gd name="T34" fmla="*/ 122779 w 355"/>
              <a:gd name="T35" fmla="*/ 146533 h 388"/>
              <a:gd name="T36" fmla="*/ 115910 w 355"/>
              <a:gd name="T37" fmla="*/ 146533 h 388"/>
              <a:gd name="T38" fmla="*/ 108183 w 355"/>
              <a:gd name="T39" fmla="*/ 137700 h 388"/>
              <a:gd name="T40" fmla="*/ 103031 w 355"/>
              <a:gd name="T41" fmla="*/ 134582 h 388"/>
              <a:gd name="T42" fmla="*/ 94874 w 355"/>
              <a:gd name="T43" fmla="*/ 139778 h 388"/>
              <a:gd name="T44" fmla="*/ 88006 w 355"/>
              <a:gd name="T45" fmla="*/ 144974 h 388"/>
              <a:gd name="T46" fmla="*/ 83283 w 355"/>
              <a:gd name="T47" fmla="*/ 148092 h 388"/>
              <a:gd name="T48" fmla="*/ 79420 w 355"/>
              <a:gd name="T49" fmla="*/ 154847 h 388"/>
              <a:gd name="T50" fmla="*/ 80278 w 355"/>
              <a:gd name="T51" fmla="*/ 166798 h 388"/>
              <a:gd name="T52" fmla="*/ 88864 w 355"/>
              <a:gd name="T53" fmla="*/ 186024 h 388"/>
              <a:gd name="T54" fmla="*/ 83713 w 355"/>
              <a:gd name="T55" fmla="*/ 183426 h 388"/>
              <a:gd name="T56" fmla="*/ 75985 w 355"/>
              <a:gd name="T57" fmla="*/ 184466 h 388"/>
              <a:gd name="T58" fmla="*/ 69546 w 355"/>
              <a:gd name="T59" fmla="*/ 189662 h 388"/>
              <a:gd name="T60" fmla="*/ 62677 w 355"/>
              <a:gd name="T61" fmla="*/ 201613 h 388"/>
              <a:gd name="T62" fmla="*/ 52803 w 355"/>
              <a:gd name="T63" fmla="*/ 192260 h 388"/>
              <a:gd name="T64" fmla="*/ 48510 w 355"/>
              <a:gd name="T65" fmla="*/ 186024 h 388"/>
              <a:gd name="T66" fmla="*/ 41212 w 355"/>
              <a:gd name="T67" fmla="*/ 168357 h 388"/>
              <a:gd name="T68" fmla="*/ 21465 w 355"/>
              <a:gd name="T69" fmla="*/ 145494 h 388"/>
              <a:gd name="T70" fmla="*/ 9445 w 355"/>
              <a:gd name="T71" fmla="*/ 131984 h 388"/>
              <a:gd name="T72" fmla="*/ 2146 w 355"/>
              <a:gd name="T73" fmla="*/ 115876 h 388"/>
              <a:gd name="T74" fmla="*/ 429 w 355"/>
              <a:gd name="T75" fmla="*/ 97169 h 388"/>
              <a:gd name="T76" fmla="*/ 4722 w 355"/>
              <a:gd name="T77" fmla="*/ 84179 h 388"/>
              <a:gd name="T78" fmla="*/ 17601 w 355"/>
              <a:gd name="T79" fmla="*/ 69629 h 388"/>
              <a:gd name="T80" fmla="*/ 23182 w 355"/>
              <a:gd name="T81" fmla="*/ 60276 h 388"/>
              <a:gd name="T82" fmla="*/ 24041 w 355"/>
              <a:gd name="T83" fmla="*/ 47286 h 388"/>
              <a:gd name="T84" fmla="*/ 46364 w 355"/>
              <a:gd name="T85" fmla="*/ 43129 h 388"/>
              <a:gd name="T86" fmla="*/ 66970 w 355"/>
              <a:gd name="T87" fmla="*/ 41570 h 388"/>
              <a:gd name="T88" fmla="*/ 73839 w 355"/>
              <a:gd name="T89" fmla="*/ 37932 h 388"/>
              <a:gd name="T90" fmla="*/ 75985 w 355"/>
              <a:gd name="T91" fmla="*/ 32736 h 388"/>
              <a:gd name="T92" fmla="*/ 74697 w 355"/>
              <a:gd name="T93" fmla="*/ 21304 h 388"/>
              <a:gd name="T94" fmla="*/ 71692 w 355"/>
              <a:gd name="T95" fmla="*/ 6235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7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135812 h 993"/>
              <a:gd name="T2" fmla="*/ 79105 w 599"/>
              <a:gd name="T3" fmla="*/ 117459 h 993"/>
              <a:gd name="T4" fmla="*/ 99967 w 599"/>
              <a:gd name="T5" fmla="*/ 125849 h 993"/>
              <a:gd name="T6" fmla="*/ 112137 w 599"/>
              <a:gd name="T7" fmla="*/ 135288 h 993"/>
              <a:gd name="T8" fmla="*/ 109530 w 599"/>
              <a:gd name="T9" fmla="*/ 155214 h 993"/>
              <a:gd name="T10" fmla="*/ 101706 w 599"/>
              <a:gd name="T11" fmla="*/ 171469 h 993"/>
              <a:gd name="T12" fmla="*/ 108660 w 599"/>
              <a:gd name="T13" fmla="*/ 187200 h 993"/>
              <a:gd name="T14" fmla="*/ 127784 w 599"/>
              <a:gd name="T15" fmla="*/ 191395 h 993"/>
              <a:gd name="T16" fmla="*/ 138651 w 599"/>
              <a:gd name="T17" fmla="*/ 178286 h 993"/>
              <a:gd name="T18" fmla="*/ 146909 w 599"/>
              <a:gd name="T19" fmla="*/ 166225 h 993"/>
              <a:gd name="T20" fmla="*/ 144301 w 599"/>
              <a:gd name="T21" fmla="*/ 136861 h 993"/>
              <a:gd name="T22" fmla="*/ 136477 w 599"/>
              <a:gd name="T23" fmla="*/ 106972 h 993"/>
              <a:gd name="T24" fmla="*/ 117788 w 599"/>
              <a:gd name="T25" fmla="*/ 82326 h 993"/>
              <a:gd name="T26" fmla="*/ 110399 w 599"/>
              <a:gd name="T27" fmla="*/ 65546 h 993"/>
              <a:gd name="T28" fmla="*/ 117353 w 599"/>
              <a:gd name="T29" fmla="*/ 32511 h 993"/>
              <a:gd name="T30" fmla="*/ 139085 w 599"/>
              <a:gd name="T31" fmla="*/ 28840 h 993"/>
              <a:gd name="T32" fmla="*/ 181680 w 599"/>
              <a:gd name="T33" fmla="*/ 31462 h 993"/>
              <a:gd name="T34" fmla="*/ 226448 w 599"/>
              <a:gd name="T35" fmla="*/ 18877 h 993"/>
              <a:gd name="T36" fmla="*/ 259481 w 599"/>
              <a:gd name="T37" fmla="*/ 1573 h 993"/>
              <a:gd name="T38" fmla="*/ 259481 w 599"/>
              <a:gd name="T39" fmla="*/ 15731 h 993"/>
              <a:gd name="T40" fmla="*/ 259481 w 599"/>
              <a:gd name="T41" fmla="*/ 66071 h 993"/>
              <a:gd name="T42" fmla="*/ 257308 w 599"/>
              <a:gd name="T43" fmla="*/ 119556 h 993"/>
              <a:gd name="T44" fmla="*/ 254265 w 599"/>
              <a:gd name="T45" fmla="*/ 144726 h 993"/>
              <a:gd name="T46" fmla="*/ 239053 w 599"/>
              <a:gd name="T47" fmla="*/ 176713 h 993"/>
              <a:gd name="T48" fmla="*/ 203412 w 599"/>
              <a:gd name="T49" fmla="*/ 210797 h 993"/>
              <a:gd name="T50" fmla="*/ 162556 w 599"/>
              <a:gd name="T51" fmla="*/ 223382 h 993"/>
              <a:gd name="T52" fmla="*/ 153428 w 599"/>
              <a:gd name="T53" fmla="*/ 243308 h 993"/>
              <a:gd name="T54" fmla="*/ 127350 w 599"/>
              <a:gd name="T55" fmla="*/ 265856 h 993"/>
              <a:gd name="T56" fmla="*/ 105618 w 599"/>
              <a:gd name="T57" fmla="*/ 287879 h 993"/>
              <a:gd name="T58" fmla="*/ 99533 w 599"/>
              <a:gd name="T59" fmla="*/ 305184 h 993"/>
              <a:gd name="T60" fmla="*/ 103010 w 599"/>
              <a:gd name="T61" fmla="*/ 324585 h 993"/>
              <a:gd name="T62" fmla="*/ 116049 w 599"/>
              <a:gd name="T63" fmla="*/ 342938 h 993"/>
              <a:gd name="T64" fmla="*/ 110399 w 599"/>
              <a:gd name="T65" fmla="*/ 363913 h 993"/>
              <a:gd name="T66" fmla="*/ 115180 w 599"/>
              <a:gd name="T67" fmla="*/ 382266 h 993"/>
              <a:gd name="T68" fmla="*/ 116049 w 599"/>
              <a:gd name="T69" fmla="*/ 414253 h 993"/>
              <a:gd name="T70" fmla="*/ 111268 w 599"/>
              <a:gd name="T71" fmla="*/ 426838 h 993"/>
              <a:gd name="T72" fmla="*/ 83886 w 599"/>
              <a:gd name="T73" fmla="*/ 457776 h 993"/>
              <a:gd name="T74" fmla="*/ 63892 w 599"/>
              <a:gd name="T75" fmla="*/ 465117 h 993"/>
              <a:gd name="T76" fmla="*/ 44333 w 599"/>
              <a:gd name="T77" fmla="*/ 468787 h 993"/>
              <a:gd name="T78" fmla="*/ 37814 w 599"/>
              <a:gd name="T79" fmla="*/ 478750 h 993"/>
              <a:gd name="T80" fmla="*/ 41291 w 599"/>
              <a:gd name="T81" fmla="*/ 492384 h 993"/>
              <a:gd name="T82" fmla="*/ 39552 w 599"/>
              <a:gd name="T83" fmla="*/ 520176 h 993"/>
              <a:gd name="T84" fmla="*/ 32163 w 599"/>
              <a:gd name="T85" fmla="*/ 424740 h 993"/>
              <a:gd name="T86" fmla="*/ 25209 w 599"/>
              <a:gd name="T87" fmla="*/ 401144 h 993"/>
              <a:gd name="T88" fmla="*/ 17820 w 599"/>
              <a:gd name="T89" fmla="*/ 377547 h 993"/>
              <a:gd name="T90" fmla="*/ 46941 w 599"/>
              <a:gd name="T91" fmla="*/ 349231 h 993"/>
              <a:gd name="T92" fmla="*/ 47376 w 599"/>
              <a:gd name="T93" fmla="*/ 321964 h 993"/>
              <a:gd name="T94" fmla="*/ 64762 w 599"/>
              <a:gd name="T95" fmla="*/ 299416 h 993"/>
              <a:gd name="T96" fmla="*/ 75628 w 599"/>
              <a:gd name="T97" fmla="*/ 275819 h 993"/>
              <a:gd name="T98" fmla="*/ 73020 w 599"/>
              <a:gd name="T99" fmla="*/ 231247 h 993"/>
              <a:gd name="T100" fmla="*/ 66065 w 599"/>
              <a:gd name="T101" fmla="*/ 190871 h 993"/>
              <a:gd name="T102" fmla="*/ 35206 w 599"/>
              <a:gd name="T103" fmla="*/ 178810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8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13108 w 545"/>
              <a:gd name="T1" fmla="*/ 224008 h 549"/>
              <a:gd name="T2" fmla="*/ 20099 w 545"/>
              <a:gd name="T3" fmla="*/ 237616 h 549"/>
              <a:gd name="T4" fmla="*/ 20099 w 545"/>
              <a:gd name="T5" fmla="*/ 267973 h 549"/>
              <a:gd name="T6" fmla="*/ 20972 w 545"/>
              <a:gd name="T7" fmla="*/ 275824 h 549"/>
              <a:gd name="T8" fmla="*/ 24031 w 545"/>
              <a:gd name="T9" fmla="*/ 281057 h 549"/>
              <a:gd name="T10" fmla="*/ 29711 w 545"/>
              <a:gd name="T11" fmla="*/ 285244 h 549"/>
              <a:gd name="T12" fmla="*/ 43693 w 545"/>
              <a:gd name="T13" fmla="*/ 287338 h 549"/>
              <a:gd name="T14" fmla="*/ 49373 w 545"/>
              <a:gd name="T15" fmla="*/ 285768 h 549"/>
              <a:gd name="T16" fmla="*/ 56800 w 545"/>
              <a:gd name="T17" fmla="*/ 278964 h 549"/>
              <a:gd name="T18" fmla="*/ 62481 w 545"/>
              <a:gd name="T19" fmla="*/ 265356 h 549"/>
              <a:gd name="T20" fmla="*/ 67287 w 545"/>
              <a:gd name="T21" fmla="*/ 249654 h 549"/>
              <a:gd name="T22" fmla="*/ 73841 w 545"/>
              <a:gd name="T23" fmla="*/ 237616 h 549"/>
              <a:gd name="T24" fmla="*/ 79958 w 545"/>
              <a:gd name="T25" fmla="*/ 232906 h 549"/>
              <a:gd name="T26" fmla="*/ 87822 w 545"/>
              <a:gd name="T27" fmla="*/ 232383 h 549"/>
              <a:gd name="T28" fmla="*/ 96998 w 545"/>
              <a:gd name="T29" fmla="*/ 234476 h 549"/>
              <a:gd name="T30" fmla="*/ 110106 w 545"/>
              <a:gd name="T31" fmla="*/ 241280 h 549"/>
              <a:gd name="T32" fmla="*/ 118844 w 545"/>
              <a:gd name="T33" fmla="*/ 244944 h 549"/>
              <a:gd name="T34" fmla="*/ 129767 w 545"/>
              <a:gd name="T35" fmla="*/ 245467 h 549"/>
              <a:gd name="T36" fmla="*/ 139380 w 545"/>
              <a:gd name="T37" fmla="*/ 242850 h 549"/>
              <a:gd name="T38" fmla="*/ 145060 w 545"/>
              <a:gd name="T39" fmla="*/ 237093 h 549"/>
              <a:gd name="T40" fmla="*/ 156857 w 545"/>
              <a:gd name="T41" fmla="*/ 203073 h 549"/>
              <a:gd name="T42" fmla="*/ 166906 w 545"/>
              <a:gd name="T43" fmla="*/ 189989 h 549"/>
              <a:gd name="T44" fmla="*/ 195306 w 545"/>
              <a:gd name="T45" fmla="*/ 164343 h 549"/>
              <a:gd name="T46" fmla="*/ 230260 w 545"/>
              <a:gd name="T47" fmla="*/ 138173 h 549"/>
              <a:gd name="T48" fmla="*/ 230697 w 545"/>
              <a:gd name="T49" fmla="*/ 121425 h 549"/>
              <a:gd name="T50" fmla="*/ 219774 w 545"/>
              <a:gd name="T51" fmla="*/ 114098 h 549"/>
              <a:gd name="T52" fmla="*/ 211909 w 545"/>
              <a:gd name="T53" fmla="*/ 104153 h 549"/>
              <a:gd name="T54" fmla="*/ 200986 w 545"/>
              <a:gd name="T55" fmla="*/ 82171 h 549"/>
              <a:gd name="T56" fmla="*/ 192248 w 545"/>
              <a:gd name="T57" fmla="*/ 69087 h 549"/>
              <a:gd name="T58" fmla="*/ 164721 w 545"/>
              <a:gd name="T59" fmla="*/ 39777 h 549"/>
              <a:gd name="T60" fmla="*/ 156857 w 545"/>
              <a:gd name="T61" fmla="*/ 27739 h 549"/>
              <a:gd name="T62" fmla="*/ 152050 w 545"/>
              <a:gd name="T63" fmla="*/ 12561 h 549"/>
              <a:gd name="T64" fmla="*/ 139380 w 545"/>
              <a:gd name="T65" fmla="*/ 0 h 549"/>
              <a:gd name="T66" fmla="*/ 106610 w 545"/>
              <a:gd name="T67" fmla="*/ 1047 h 549"/>
              <a:gd name="T68" fmla="*/ 76899 w 545"/>
              <a:gd name="T69" fmla="*/ 6804 h 549"/>
              <a:gd name="T70" fmla="*/ 41508 w 545"/>
              <a:gd name="T71" fmla="*/ 11514 h 549"/>
              <a:gd name="T72" fmla="*/ 31022 w 545"/>
              <a:gd name="T73" fmla="*/ 14131 h 549"/>
              <a:gd name="T74" fmla="*/ 29274 w 545"/>
              <a:gd name="T75" fmla="*/ 19889 h 549"/>
              <a:gd name="T76" fmla="*/ 31896 w 545"/>
              <a:gd name="T77" fmla="*/ 29310 h 549"/>
              <a:gd name="T78" fmla="*/ 36702 w 545"/>
              <a:gd name="T79" fmla="*/ 38730 h 549"/>
              <a:gd name="T80" fmla="*/ 37576 w 545"/>
              <a:gd name="T81" fmla="*/ 56002 h 549"/>
              <a:gd name="T82" fmla="*/ 32333 w 545"/>
              <a:gd name="T83" fmla="*/ 89499 h 549"/>
              <a:gd name="T84" fmla="*/ 27089 w 545"/>
              <a:gd name="T85" fmla="*/ 124042 h 549"/>
              <a:gd name="T86" fmla="*/ 20536 w 545"/>
              <a:gd name="T87" fmla="*/ 137650 h 549"/>
              <a:gd name="T88" fmla="*/ 11360 w 545"/>
              <a:gd name="T89" fmla="*/ 144977 h 549"/>
              <a:gd name="T90" fmla="*/ 2185 w 545"/>
              <a:gd name="T91" fmla="*/ 160679 h 549"/>
              <a:gd name="T92" fmla="*/ 437 w 545"/>
              <a:gd name="T93" fmla="*/ 177427 h 549"/>
              <a:gd name="T94" fmla="*/ 3495 w 545"/>
              <a:gd name="T95" fmla="*/ 192082 h 549"/>
              <a:gd name="T96" fmla="*/ 3495 w 545"/>
              <a:gd name="T97" fmla="*/ 204643 h 549"/>
              <a:gd name="T98" fmla="*/ 0 w 545"/>
              <a:gd name="T99" fmla="*/ 213541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9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48777 w 452"/>
              <a:gd name="T1" fmla="*/ 136452 h 832"/>
              <a:gd name="T2" fmla="*/ 60100 w 452"/>
              <a:gd name="T3" fmla="*/ 129656 h 832"/>
              <a:gd name="T4" fmla="*/ 71859 w 452"/>
              <a:gd name="T5" fmla="*/ 125474 h 832"/>
              <a:gd name="T6" fmla="*/ 83618 w 452"/>
              <a:gd name="T7" fmla="*/ 121291 h 832"/>
              <a:gd name="T8" fmla="*/ 93634 w 452"/>
              <a:gd name="T9" fmla="*/ 113449 h 832"/>
              <a:gd name="T10" fmla="*/ 101038 w 452"/>
              <a:gd name="T11" fmla="*/ 104561 h 832"/>
              <a:gd name="T12" fmla="*/ 101038 w 452"/>
              <a:gd name="T13" fmla="*/ 93582 h 832"/>
              <a:gd name="T14" fmla="*/ 115410 w 452"/>
              <a:gd name="T15" fmla="*/ 93060 h 832"/>
              <a:gd name="T16" fmla="*/ 122813 w 452"/>
              <a:gd name="T17" fmla="*/ 90446 h 832"/>
              <a:gd name="T18" fmla="*/ 129782 w 452"/>
              <a:gd name="T19" fmla="*/ 84695 h 832"/>
              <a:gd name="T20" fmla="*/ 139363 w 452"/>
              <a:gd name="T21" fmla="*/ 69533 h 832"/>
              <a:gd name="T22" fmla="*/ 152428 w 452"/>
              <a:gd name="T23" fmla="*/ 39210 h 832"/>
              <a:gd name="T24" fmla="*/ 164622 w 452"/>
              <a:gd name="T25" fmla="*/ 0 h 832"/>
              <a:gd name="T26" fmla="*/ 167671 w 452"/>
              <a:gd name="T27" fmla="*/ 9933 h 832"/>
              <a:gd name="T28" fmla="*/ 177252 w 452"/>
              <a:gd name="T29" fmla="*/ 24572 h 832"/>
              <a:gd name="T30" fmla="*/ 195108 w 452"/>
              <a:gd name="T31" fmla="*/ 44439 h 832"/>
              <a:gd name="T32" fmla="*/ 191624 w 452"/>
              <a:gd name="T33" fmla="*/ 53849 h 832"/>
              <a:gd name="T34" fmla="*/ 193366 w 452"/>
              <a:gd name="T35" fmla="*/ 72147 h 832"/>
              <a:gd name="T36" fmla="*/ 196850 w 452"/>
              <a:gd name="T37" fmla="*/ 96719 h 832"/>
              <a:gd name="T38" fmla="*/ 195108 w 452"/>
              <a:gd name="T39" fmla="*/ 107698 h 832"/>
              <a:gd name="T40" fmla="*/ 186398 w 452"/>
              <a:gd name="T41" fmla="*/ 122337 h 832"/>
              <a:gd name="T42" fmla="*/ 178123 w 452"/>
              <a:gd name="T43" fmla="*/ 136452 h 832"/>
              <a:gd name="T44" fmla="*/ 176381 w 452"/>
              <a:gd name="T45" fmla="*/ 147954 h 832"/>
              <a:gd name="T46" fmla="*/ 171155 w 452"/>
              <a:gd name="T47" fmla="*/ 161024 h 832"/>
              <a:gd name="T48" fmla="*/ 166800 w 452"/>
              <a:gd name="T49" fmla="*/ 166252 h 832"/>
              <a:gd name="T50" fmla="*/ 164187 w 452"/>
              <a:gd name="T51" fmla="*/ 173572 h 832"/>
              <a:gd name="T52" fmla="*/ 160267 w 452"/>
              <a:gd name="T53" fmla="*/ 190302 h 832"/>
              <a:gd name="T54" fmla="*/ 147202 w 452"/>
              <a:gd name="T55" fmla="*/ 223238 h 832"/>
              <a:gd name="T56" fmla="*/ 139798 w 452"/>
              <a:gd name="T57" fmla="*/ 245719 h 832"/>
              <a:gd name="T58" fmla="*/ 138492 w 452"/>
              <a:gd name="T59" fmla="*/ 261403 h 832"/>
              <a:gd name="T60" fmla="*/ 135008 w 452"/>
              <a:gd name="T61" fmla="*/ 277610 h 832"/>
              <a:gd name="T62" fmla="*/ 122378 w 452"/>
              <a:gd name="T63" fmla="*/ 314730 h 832"/>
              <a:gd name="T64" fmla="*/ 113232 w 452"/>
              <a:gd name="T65" fmla="*/ 333028 h 832"/>
              <a:gd name="T66" fmla="*/ 105393 w 452"/>
              <a:gd name="T67" fmla="*/ 342438 h 832"/>
              <a:gd name="T68" fmla="*/ 101038 w 452"/>
              <a:gd name="T69" fmla="*/ 345052 h 832"/>
              <a:gd name="T70" fmla="*/ 99296 w 452"/>
              <a:gd name="T71" fmla="*/ 373284 h 832"/>
              <a:gd name="T72" fmla="*/ 93634 w 452"/>
              <a:gd name="T73" fmla="*/ 396810 h 832"/>
              <a:gd name="T74" fmla="*/ 83182 w 452"/>
              <a:gd name="T75" fmla="*/ 415631 h 832"/>
              <a:gd name="T76" fmla="*/ 68375 w 452"/>
              <a:gd name="T77" fmla="*/ 428179 h 832"/>
              <a:gd name="T78" fmla="*/ 47906 w 452"/>
              <a:gd name="T79" fmla="*/ 434452 h 832"/>
              <a:gd name="T80" fmla="*/ 34841 w 452"/>
              <a:gd name="T81" fmla="*/ 432361 h 832"/>
              <a:gd name="T82" fmla="*/ 31792 w 452"/>
              <a:gd name="T83" fmla="*/ 427133 h 832"/>
              <a:gd name="T84" fmla="*/ 21775 w 452"/>
              <a:gd name="T85" fmla="*/ 423473 h 832"/>
              <a:gd name="T86" fmla="*/ 11323 w 452"/>
              <a:gd name="T87" fmla="*/ 417200 h 832"/>
              <a:gd name="T88" fmla="*/ 5226 w 452"/>
              <a:gd name="T89" fmla="*/ 406221 h 832"/>
              <a:gd name="T90" fmla="*/ 1307 w 452"/>
              <a:gd name="T91" fmla="*/ 393150 h 832"/>
              <a:gd name="T92" fmla="*/ 0 w 452"/>
              <a:gd name="T93" fmla="*/ 370147 h 832"/>
              <a:gd name="T94" fmla="*/ 1742 w 452"/>
              <a:gd name="T95" fmla="*/ 362828 h 832"/>
              <a:gd name="T96" fmla="*/ 8275 w 452"/>
              <a:gd name="T97" fmla="*/ 354463 h 832"/>
              <a:gd name="T98" fmla="*/ 4791 w 452"/>
              <a:gd name="T99" fmla="*/ 351326 h 832"/>
              <a:gd name="T100" fmla="*/ 0 w 452"/>
              <a:gd name="T101" fmla="*/ 340870 h 832"/>
              <a:gd name="T102" fmla="*/ 2178 w 452"/>
              <a:gd name="T103" fmla="*/ 328322 h 832"/>
              <a:gd name="T104" fmla="*/ 3484 w 452"/>
              <a:gd name="T105" fmla="*/ 318912 h 832"/>
              <a:gd name="T106" fmla="*/ 2178 w 452"/>
              <a:gd name="T107" fmla="*/ 308979 h 832"/>
              <a:gd name="T108" fmla="*/ 7839 w 452"/>
              <a:gd name="T109" fmla="*/ 306887 h 832"/>
              <a:gd name="T110" fmla="*/ 18727 w 452"/>
              <a:gd name="T111" fmla="*/ 296954 h 832"/>
              <a:gd name="T112" fmla="*/ 27437 w 452"/>
              <a:gd name="T113" fmla="*/ 281270 h 832"/>
              <a:gd name="T114" fmla="*/ 33099 w 452"/>
              <a:gd name="T115" fmla="*/ 264540 h 832"/>
              <a:gd name="T116" fmla="*/ 37454 w 452"/>
              <a:gd name="T117" fmla="*/ 241537 h 832"/>
              <a:gd name="T118" fmla="*/ 36147 w 452"/>
              <a:gd name="T119" fmla="*/ 228989 h 832"/>
              <a:gd name="T120" fmla="*/ 30486 w 452"/>
              <a:gd name="T121" fmla="*/ 213305 h 832"/>
              <a:gd name="T122" fmla="*/ 24388 w 452"/>
              <a:gd name="T123" fmla="*/ 199712 h 832"/>
              <a:gd name="T124" fmla="*/ 23082 w 452"/>
              <a:gd name="T125" fmla="*/ 189779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0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36513 w 80"/>
              <a:gd name="T1" fmla="*/ 1058 h 126"/>
              <a:gd name="T2" fmla="*/ 36513 w 80"/>
              <a:gd name="T3" fmla="*/ 53446 h 126"/>
              <a:gd name="T4" fmla="*/ 35600 w 80"/>
              <a:gd name="T5" fmla="*/ 55033 h 126"/>
              <a:gd name="T6" fmla="*/ 34231 w 80"/>
              <a:gd name="T7" fmla="*/ 56621 h 126"/>
              <a:gd name="T8" fmla="*/ 31949 w 80"/>
              <a:gd name="T9" fmla="*/ 57679 h 126"/>
              <a:gd name="T10" fmla="*/ 30580 w 80"/>
              <a:gd name="T11" fmla="*/ 58737 h 126"/>
              <a:gd name="T12" fmla="*/ 26472 w 80"/>
              <a:gd name="T13" fmla="*/ 60325 h 126"/>
              <a:gd name="T14" fmla="*/ 21908 w 80"/>
              <a:gd name="T15" fmla="*/ 61383 h 126"/>
              <a:gd name="T16" fmla="*/ 16431 w 80"/>
              <a:gd name="T17" fmla="*/ 61912 h 126"/>
              <a:gd name="T18" fmla="*/ 11410 w 80"/>
              <a:gd name="T19" fmla="*/ 62971 h 126"/>
              <a:gd name="T20" fmla="*/ 5933 w 80"/>
              <a:gd name="T21" fmla="*/ 65087 h 126"/>
              <a:gd name="T22" fmla="*/ 0 w 80"/>
              <a:gd name="T23" fmla="*/ 66675 h 126"/>
              <a:gd name="T24" fmla="*/ 3195 w 80"/>
              <a:gd name="T25" fmla="*/ 21167 h 126"/>
              <a:gd name="T26" fmla="*/ 10497 w 80"/>
              <a:gd name="T27" fmla="*/ 14287 h 126"/>
              <a:gd name="T28" fmla="*/ 18713 w 80"/>
              <a:gd name="T29" fmla="*/ 6350 h 126"/>
              <a:gd name="T30" fmla="*/ 23277 w 80"/>
              <a:gd name="T31" fmla="*/ 2646 h 126"/>
              <a:gd name="T32" fmla="*/ 27385 w 80"/>
              <a:gd name="T33" fmla="*/ 529 h 126"/>
              <a:gd name="T34" fmla="*/ 29667 w 80"/>
              <a:gd name="T35" fmla="*/ 0 h 126"/>
              <a:gd name="T36" fmla="*/ 31949 w 80"/>
              <a:gd name="T37" fmla="*/ 0 h 126"/>
              <a:gd name="T38" fmla="*/ 34231 w 80"/>
              <a:gd name="T39" fmla="*/ 529 h 126"/>
              <a:gd name="T40" fmla="*/ 36513 w 80"/>
              <a:gd name="T41" fmla="*/ 1058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1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50633 w 124"/>
              <a:gd name="T1" fmla="*/ 0 h 117"/>
              <a:gd name="T2" fmla="*/ 51977 w 124"/>
              <a:gd name="T3" fmla="*/ 7734 h 117"/>
              <a:gd name="T4" fmla="*/ 54666 w 124"/>
              <a:gd name="T5" fmla="*/ 18046 h 117"/>
              <a:gd name="T6" fmla="*/ 55562 w 124"/>
              <a:gd name="T7" fmla="*/ 23202 h 117"/>
              <a:gd name="T8" fmla="*/ 55562 w 124"/>
              <a:gd name="T9" fmla="*/ 27842 h 117"/>
              <a:gd name="T10" fmla="*/ 55562 w 124"/>
              <a:gd name="T11" fmla="*/ 30420 h 117"/>
              <a:gd name="T12" fmla="*/ 55114 w 124"/>
              <a:gd name="T13" fmla="*/ 32998 h 117"/>
              <a:gd name="T14" fmla="*/ 54666 w 124"/>
              <a:gd name="T15" fmla="*/ 35576 h 117"/>
              <a:gd name="T16" fmla="*/ 53322 w 124"/>
              <a:gd name="T17" fmla="*/ 37639 h 117"/>
              <a:gd name="T18" fmla="*/ 51081 w 124"/>
              <a:gd name="T19" fmla="*/ 37123 h 117"/>
              <a:gd name="T20" fmla="*/ 48393 w 124"/>
              <a:gd name="T21" fmla="*/ 36607 h 117"/>
              <a:gd name="T22" fmla="*/ 46152 w 124"/>
              <a:gd name="T23" fmla="*/ 37123 h 117"/>
              <a:gd name="T24" fmla="*/ 43016 w 124"/>
              <a:gd name="T25" fmla="*/ 37639 h 117"/>
              <a:gd name="T26" fmla="*/ 37191 w 124"/>
              <a:gd name="T27" fmla="*/ 40217 h 117"/>
              <a:gd name="T28" fmla="*/ 31814 w 124"/>
              <a:gd name="T29" fmla="*/ 43826 h 117"/>
              <a:gd name="T30" fmla="*/ 20612 w 124"/>
              <a:gd name="T31" fmla="*/ 53107 h 117"/>
              <a:gd name="T32" fmla="*/ 11650 w 124"/>
              <a:gd name="T33" fmla="*/ 60325 h 117"/>
              <a:gd name="T34" fmla="*/ 10306 w 124"/>
              <a:gd name="T35" fmla="*/ 57747 h 117"/>
              <a:gd name="T36" fmla="*/ 5825 w 124"/>
              <a:gd name="T37" fmla="*/ 52075 h 117"/>
              <a:gd name="T38" fmla="*/ 1792 w 124"/>
              <a:gd name="T39" fmla="*/ 45888 h 117"/>
              <a:gd name="T40" fmla="*/ 0 w 124"/>
              <a:gd name="T41" fmla="*/ 40732 h 117"/>
              <a:gd name="T42" fmla="*/ 448 w 124"/>
              <a:gd name="T43" fmla="*/ 39185 h 117"/>
              <a:gd name="T44" fmla="*/ 896 w 124"/>
              <a:gd name="T45" fmla="*/ 37123 h 117"/>
              <a:gd name="T46" fmla="*/ 2240 w 124"/>
              <a:gd name="T47" fmla="*/ 34545 h 117"/>
              <a:gd name="T48" fmla="*/ 4033 w 124"/>
              <a:gd name="T49" fmla="*/ 31967 h 117"/>
              <a:gd name="T50" fmla="*/ 7617 w 124"/>
              <a:gd name="T51" fmla="*/ 26811 h 117"/>
              <a:gd name="T52" fmla="*/ 12098 w 124"/>
              <a:gd name="T53" fmla="*/ 21655 h 117"/>
              <a:gd name="T54" fmla="*/ 21508 w 124"/>
              <a:gd name="T55" fmla="*/ 11343 h 117"/>
              <a:gd name="T56" fmla="*/ 26885 w 124"/>
              <a:gd name="T57" fmla="*/ 6187 h 117"/>
              <a:gd name="T58" fmla="*/ 32710 w 124"/>
              <a:gd name="T59" fmla="*/ 6187 h 117"/>
              <a:gd name="T60" fmla="*/ 38535 w 124"/>
              <a:gd name="T61" fmla="*/ 6187 h 117"/>
              <a:gd name="T62" fmla="*/ 44808 w 124"/>
              <a:gd name="T63" fmla="*/ 3094 h 117"/>
              <a:gd name="T64" fmla="*/ 50633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2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403983 w 1156"/>
              <a:gd name="T1" fmla="*/ 100397 h 900"/>
              <a:gd name="T2" fmla="*/ 373946 w 1156"/>
              <a:gd name="T3" fmla="*/ 85154 h 900"/>
              <a:gd name="T4" fmla="*/ 336508 w 1156"/>
              <a:gd name="T5" fmla="*/ 58346 h 900"/>
              <a:gd name="T6" fmla="*/ 268597 w 1156"/>
              <a:gd name="T7" fmla="*/ 54666 h 900"/>
              <a:gd name="T8" fmla="*/ 239865 w 1156"/>
              <a:gd name="T9" fmla="*/ 80948 h 900"/>
              <a:gd name="T10" fmla="*/ 219405 w 1156"/>
              <a:gd name="T11" fmla="*/ 94089 h 900"/>
              <a:gd name="T12" fmla="*/ 185449 w 1156"/>
              <a:gd name="T13" fmla="*/ 103551 h 900"/>
              <a:gd name="T14" fmla="*/ 166730 w 1156"/>
              <a:gd name="T15" fmla="*/ 104602 h 900"/>
              <a:gd name="T16" fmla="*/ 154541 w 1156"/>
              <a:gd name="T17" fmla="*/ 90936 h 900"/>
              <a:gd name="T18" fmla="*/ 113185 w 1156"/>
              <a:gd name="T19" fmla="*/ 71487 h 900"/>
              <a:gd name="T20" fmla="*/ 99255 w 1156"/>
              <a:gd name="T21" fmla="*/ 45205 h 900"/>
              <a:gd name="T22" fmla="*/ 95772 w 1156"/>
              <a:gd name="T23" fmla="*/ 12090 h 900"/>
              <a:gd name="T24" fmla="*/ 81841 w 1156"/>
              <a:gd name="T25" fmla="*/ 526 h 900"/>
              <a:gd name="T26" fmla="*/ 67476 w 1156"/>
              <a:gd name="T27" fmla="*/ 11038 h 900"/>
              <a:gd name="T28" fmla="*/ 59204 w 1156"/>
              <a:gd name="T29" fmla="*/ 35218 h 900"/>
              <a:gd name="T30" fmla="*/ 34391 w 1156"/>
              <a:gd name="T31" fmla="*/ 28385 h 900"/>
              <a:gd name="T32" fmla="*/ 1741 w 1156"/>
              <a:gd name="T33" fmla="*/ 8410 h 900"/>
              <a:gd name="T34" fmla="*/ 2177 w 1156"/>
              <a:gd name="T35" fmla="*/ 37846 h 900"/>
              <a:gd name="T36" fmla="*/ 19590 w 1156"/>
              <a:gd name="T37" fmla="*/ 76743 h 900"/>
              <a:gd name="T38" fmla="*/ 31779 w 1156"/>
              <a:gd name="T39" fmla="*/ 107756 h 900"/>
              <a:gd name="T40" fmla="*/ 58769 w 1156"/>
              <a:gd name="T41" fmla="*/ 149281 h 900"/>
              <a:gd name="T42" fmla="*/ 53110 w 1156"/>
              <a:gd name="T43" fmla="*/ 166102 h 900"/>
              <a:gd name="T44" fmla="*/ 57898 w 1156"/>
              <a:gd name="T45" fmla="*/ 194486 h 900"/>
              <a:gd name="T46" fmla="*/ 81841 w 1156"/>
              <a:gd name="T47" fmla="*/ 224973 h 900"/>
              <a:gd name="T48" fmla="*/ 112750 w 1156"/>
              <a:gd name="T49" fmla="*/ 239691 h 900"/>
              <a:gd name="T50" fmla="*/ 112750 w 1156"/>
              <a:gd name="T51" fmla="*/ 275435 h 900"/>
              <a:gd name="T52" fmla="*/ 145835 w 1156"/>
              <a:gd name="T53" fmla="*/ 305396 h 900"/>
              <a:gd name="T54" fmla="*/ 184143 w 1156"/>
              <a:gd name="T55" fmla="*/ 349024 h 900"/>
              <a:gd name="T56" fmla="*/ 205039 w 1156"/>
              <a:gd name="T57" fmla="*/ 378460 h 900"/>
              <a:gd name="T58" fmla="*/ 219405 w 1156"/>
              <a:gd name="T59" fmla="*/ 385293 h 900"/>
              <a:gd name="T60" fmla="*/ 235947 w 1156"/>
              <a:gd name="T61" fmla="*/ 396857 h 900"/>
              <a:gd name="T62" fmla="*/ 260326 w 1156"/>
              <a:gd name="T63" fmla="*/ 413678 h 900"/>
              <a:gd name="T64" fmla="*/ 298199 w 1156"/>
              <a:gd name="T65" fmla="*/ 417883 h 900"/>
              <a:gd name="T66" fmla="*/ 318659 w 1156"/>
              <a:gd name="T67" fmla="*/ 409998 h 900"/>
              <a:gd name="T68" fmla="*/ 339120 w 1156"/>
              <a:gd name="T69" fmla="*/ 401588 h 900"/>
              <a:gd name="T70" fmla="*/ 348697 w 1156"/>
              <a:gd name="T71" fmla="*/ 418409 h 900"/>
              <a:gd name="T72" fmla="*/ 353921 w 1156"/>
              <a:gd name="T73" fmla="*/ 450473 h 900"/>
              <a:gd name="T74" fmla="*/ 380476 w 1156"/>
              <a:gd name="T75" fmla="*/ 459408 h 900"/>
              <a:gd name="T76" fmla="*/ 440116 w 1156"/>
              <a:gd name="T77" fmla="*/ 468870 h 900"/>
              <a:gd name="T78" fmla="*/ 474942 w 1156"/>
              <a:gd name="T79" fmla="*/ 462037 h 900"/>
              <a:gd name="T80" fmla="*/ 478424 w 1156"/>
              <a:gd name="T81" fmla="*/ 436806 h 900"/>
              <a:gd name="T82" fmla="*/ 503238 w 1156"/>
              <a:gd name="T83" fmla="*/ 404742 h 900"/>
              <a:gd name="T84" fmla="*/ 492790 w 1156"/>
              <a:gd name="T85" fmla="*/ 394229 h 900"/>
              <a:gd name="T86" fmla="*/ 477118 w 1156"/>
              <a:gd name="T87" fmla="*/ 372152 h 900"/>
              <a:gd name="T88" fmla="*/ 448822 w 1156"/>
              <a:gd name="T89" fmla="*/ 337986 h 900"/>
              <a:gd name="T90" fmla="*/ 443163 w 1156"/>
              <a:gd name="T91" fmla="*/ 316960 h 900"/>
              <a:gd name="T92" fmla="*/ 454481 w 1156"/>
              <a:gd name="T93" fmla="*/ 293832 h 900"/>
              <a:gd name="T94" fmla="*/ 456223 w 1156"/>
              <a:gd name="T95" fmla="*/ 276486 h 900"/>
              <a:gd name="T96" fmla="*/ 448387 w 1156"/>
              <a:gd name="T97" fmla="*/ 269127 h 900"/>
              <a:gd name="T98" fmla="*/ 427926 w 1156"/>
              <a:gd name="T99" fmla="*/ 266499 h 900"/>
              <a:gd name="T100" fmla="*/ 415302 w 1156"/>
              <a:gd name="T101" fmla="*/ 238114 h 900"/>
              <a:gd name="T102" fmla="*/ 407901 w 1156"/>
              <a:gd name="T103" fmla="*/ 196063 h 900"/>
              <a:gd name="T104" fmla="*/ 402242 w 1156"/>
              <a:gd name="T105" fmla="*/ 187653 h 900"/>
              <a:gd name="T106" fmla="*/ 409207 w 1156"/>
              <a:gd name="T107" fmla="*/ 175563 h 900"/>
              <a:gd name="T108" fmla="*/ 417914 w 1156"/>
              <a:gd name="T109" fmla="*/ 154012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3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11277 w 571"/>
              <a:gd name="T1" fmla="*/ 98045 h 443"/>
              <a:gd name="T2" fmla="*/ 16047 w 571"/>
              <a:gd name="T3" fmla="*/ 91337 h 443"/>
              <a:gd name="T4" fmla="*/ 17782 w 571"/>
              <a:gd name="T5" fmla="*/ 84628 h 443"/>
              <a:gd name="T6" fmla="*/ 16915 w 571"/>
              <a:gd name="T7" fmla="*/ 66567 h 443"/>
              <a:gd name="T8" fmla="*/ 19083 w 571"/>
              <a:gd name="T9" fmla="*/ 61923 h 443"/>
              <a:gd name="T10" fmla="*/ 23854 w 571"/>
              <a:gd name="T11" fmla="*/ 57795 h 443"/>
              <a:gd name="T12" fmla="*/ 29492 w 571"/>
              <a:gd name="T13" fmla="*/ 55215 h 443"/>
              <a:gd name="T14" fmla="*/ 34697 w 571"/>
              <a:gd name="T15" fmla="*/ 53667 h 443"/>
              <a:gd name="T16" fmla="*/ 44672 w 571"/>
              <a:gd name="T17" fmla="*/ 54699 h 443"/>
              <a:gd name="T18" fmla="*/ 53780 w 571"/>
              <a:gd name="T19" fmla="*/ 56247 h 443"/>
              <a:gd name="T20" fmla="*/ 68527 w 571"/>
              <a:gd name="T21" fmla="*/ 61923 h 443"/>
              <a:gd name="T22" fmla="*/ 79803 w 571"/>
              <a:gd name="T23" fmla="*/ 69664 h 443"/>
              <a:gd name="T24" fmla="*/ 89345 w 571"/>
              <a:gd name="T25" fmla="*/ 79468 h 443"/>
              <a:gd name="T26" fmla="*/ 110163 w 571"/>
              <a:gd name="T27" fmla="*/ 47474 h 443"/>
              <a:gd name="T28" fmla="*/ 123608 w 571"/>
              <a:gd name="T29" fmla="*/ 25285 h 443"/>
              <a:gd name="T30" fmla="*/ 233337 w 571"/>
              <a:gd name="T31" fmla="*/ 22189 h 443"/>
              <a:gd name="T32" fmla="*/ 241578 w 571"/>
              <a:gd name="T33" fmla="*/ 40250 h 443"/>
              <a:gd name="T34" fmla="*/ 243747 w 571"/>
              <a:gd name="T35" fmla="*/ 50571 h 443"/>
              <a:gd name="T36" fmla="*/ 244614 w 571"/>
              <a:gd name="T37" fmla="*/ 63471 h 443"/>
              <a:gd name="T38" fmla="*/ 246349 w 571"/>
              <a:gd name="T39" fmla="*/ 77920 h 443"/>
              <a:gd name="T40" fmla="*/ 247650 w 571"/>
              <a:gd name="T41" fmla="*/ 91853 h 443"/>
              <a:gd name="T42" fmla="*/ 244614 w 571"/>
              <a:gd name="T43" fmla="*/ 92885 h 443"/>
              <a:gd name="T44" fmla="*/ 243747 w 571"/>
              <a:gd name="T45" fmla="*/ 92369 h 443"/>
              <a:gd name="T46" fmla="*/ 242012 w 571"/>
              <a:gd name="T47" fmla="*/ 94949 h 443"/>
              <a:gd name="T48" fmla="*/ 237675 w 571"/>
              <a:gd name="T49" fmla="*/ 106818 h 443"/>
              <a:gd name="T50" fmla="*/ 231603 w 571"/>
              <a:gd name="T51" fmla="*/ 116106 h 443"/>
              <a:gd name="T52" fmla="*/ 223362 w 571"/>
              <a:gd name="T53" fmla="*/ 123330 h 443"/>
              <a:gd name="T54" fmla="*/ 214254 w 571"/>
              <a:gd name="T55" fmla="*/ 128491 h 443"/>
              <a:gd name="T56" fmla="*/ 175654 w 571"/>
              <a:gd name="T57" fmla="*/ 146036 h 443"/>
              <a:gd name="T58" fmla="*/ 150498 w 571"/>
              <a:gd name="T59" fmla="*/ 158420 h 443"/>
              <a:gd name="T60" fmla="*/ 127945 w 571"/>
              <a:gd name="T61" fmla="*/ 169257 h 443"/>
              <a:gd name="T62" fmla="*/ 106260 w 571"/>
              <a:gd name="T63" fmla="*/ 178029 h 443"/>
              <a:gd name="T64" fmla="*/ 80671 w 571"/>
              <a:gd name="T65" fmla="*/ 187318 h 443"/>
              <a:gd name="T66" fmla="*/ 72430 w 571"/>
              <a:gd name="T67" fmla="*/ 191446 h 443"/>
              <a:gd name="T68" fmla="*/ 64623 w 571"/>
              <a:gd name="T69" fmla="*/ 196606 h 443"/>
              <a:gd name="T70" fmla="*/ 51612 w 571"/>
              <a:gd name="T71" fmla="*/ 207959 h 443"/>
              <a:gd name="T72" fmla="*/ 39902 w 571"/>
              <a:gd name="T73" fmla="*/ 219828 h 443"/>
              <a:gd name="T74" fmla="*/ 29059 w 571"/>
              <a:gd name="T75" fmla="*/ 228600 h 443"/>
              <a:gd name="T76" fmla="*/ 21686 w 571"/>
              <a:gd name="T77" fmla="*/ 195058 h 443"/>
              <a:gd name="T78" fmla="*/ 14313 w 571"/>
              <a:gd name="T79" fmla="*/ 161516 h 443"/>
              <a:gd name="T80" fmla="*/ 6939 w 571"/>
              <a:gd name="T81" fmla="*/ 129523 h 443"/>
              <a:gd name="T82" fmla="*/ 0 w 571"/>
              <a:gd name="T83" fmla="*/ 101141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4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58737 h 228"/>
              <a:gd name="T2" fmla="*/ 1687 w 286"/>
              <a:gd name="T3" fmla="*/ 57679 h 228"/>
              <a:gd name="T4" fmla="*/ 2953 w 286"/>
              <a:gd name="T5" fmla="*/ 57679 h 228"/>
              <a:gd name="T6" fmla="*/ 4219 w 286"/>
              <a:gd name="T7" fmla="*/ 58208 h 228"/>
              <a:gd name="T8" fmla="*/ 4640 w 286"/>
              <a:gd name="T9" fmla="*/ 58737 h 228"/>
              <a:gd name="T10" fmla="*/ 5062 w 286"/>
              <a:gd name="T11" fmla="*/ 61912 h 228"/>
              <a:gd name="T12" fmla="*/ 5484 w 286"/>
              <a:gd name="T13" fmla="*/ 65087 h 228"/>
              <a:gd name="T14" fmla="*/ 5906 w 286"/>
              <a:gd name="T15" fmla="*/ 67733 h 228"/>
              <a:gd name="T16" fmla="*/ 6750 w 286"/>
              <a:gd name="T17" fmla="*/ 69321 h 228"/>
              <a:gd name="T18" fmla="*/ 8015 w 286"/>
              <a:gd name="T19" fmla="*/ 70908 h 228"/>
              <a:gd name="T20" fmla="*/ 10124 w 286"/>
              <a:gd name="T21" fmla="*/ 71967 h 228"/>
              <a:gd name="T22" fmla="*/ 12234 w 286"/>
              <a:gd name="T23" fmla="*/ 72496 h 228"/>
              <a:gd name="T24" fmla="*/ 15609 w 286"/>
              <a:gd name="T25" fmla="*/ 73025 h 228"/>
              <a:gd name="T26" fmla="*/ 20249 w 286"/>
              <a:gd name="T27" fmla="*/ 73025 h 228"/>
              <a:gd name="T28" fmla="*/ 25311 w 286"/>
              <a:gd name="T29" fmla="*/ 71967 h 228"/>
              <a:gd name="T30" fmla="*/ 41342 w 286"/>
              <a:gd name="T31" fmla="*/ 68792 h 228"/>
              <a:gd name="T32" fmla="*/ 54419 w 286"/>
              <a:gd name="T33" fmla="*/ 64558 h 228"/>
              <a:gd name="T34" fmla="*/ 60325 w 286"/>
              <a:gd name="T35" fmla="*/ 62442 h 228"/>
              <a:gd name="T36" fmla="*/ 65809 w 286"/>
              <a:gd name="T37" fmla="*/ 60325 h 228"/>
              <a:gd name="T38" fmla="*/ 70449 w 286"/>
              <a:gd name="T39" fmla="*/ 57679 h 228"/>
              <a:gd name="T40" fmla="*/ 75090 w 286"/>
              <a:gd name="T41" fmla="*/ 54504 h 228"/>
              <a:gd name="T42" fmla="*/ 79308 w 286"/>
              <a:gd name="T43" fmla="*/ 50800 h 228"/>
              <a:gd name="T44" fmla="*/ 83527 w 286"/>
              <a:gd name="T45" fmla="*/ 46038 h 228"/>
              <a:gd name="T46" fmla="*/ 87745 w 286"/>
              <a:gd name="T47" fmla="*/ 41275 h 228"/>
              <a:gd name="T48" fmla="*/ 92386 w 286"/>
              <a:gd name="T49" fmla="*/ 34396 h 228"/>
              <a:gd name="T50" fmla="*/ 96604 w 286"/>
              <a:gd name="T51" fmla="*/ 27517 h 228"/>
              <a:gd name="T52" fmla="*/ 101667 w 286"/>
              <a:gd name="T53" fmla="*/ 19579 h 228"/>
              <a:gd name="T54" fmla="*/ 106729 w 286"/>
              <a:gd name="T55" fmla="*/ 10583 h 228"/>
              <a:gd name="T56" fmla="*/ 112213 w 286"/>
              <a:gd name="T57" fmla="*/ 0 h 228"/>
              <a:gd name="T58" fmla="*/ 113900 w 286"/>
              <a:gd name="T59" fmla="*/ 3704 h 228"/>
              <a:gd name="T60" fmla="*/ 115588 w 286"/>
              <a:gd name="T61" fmla="*/ 6879 h 228"/>
              <a:gd name="T62" fmla="*/ 116431 w 286"/>
              <a:gd name="T63" fmla="*/ 10583 h 228"/>
              <a:gd name="T64" fmla="*/ 117697 w 286"/>
              <a:gd name="T65" fmla="*/ 14287 h 228"/>
              <a:gd name="T66" fmla="*/ 118963 w 286"/>
              <a:gd name="T67" fmla="*/ 22225 h 228"/>
              <a:gd name="T68" fmla="*/ 120650 w 286"/>
              <a:gd name="T69" fmla="*/ 32808 h 228"/>
              <a:gd name="T70" fmla="*/ 103776 w 286"/>
              <a:gd name="T71" fmla="*/ 104775 h 228"/>
              <a:gd name="T72" fmla="*/ 95339 w 286"/>
              <a:gd name="T73" fmla="*/ 120650 h 228"/>
              <a:gd name="T74" fmla="*/ 22358 w 286"/>
              <a:gd name="T75" fmla="*/ 111125 h 228"/>
              <a:gd name="T76" fmla="*/ 0 w 286"/>
              <a:gd name="T77" fmla="*/ 5873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35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202740 w 524"/>
              <a:gd name="T1" fmla="*/ 193078 h 505"/>
              <a:gd name="T2" fmla="*/ 205284 w 524"/>
              <a:gd name="T3" fmla="*/ 180554 h 505"/>
              <a:gd name="T4" fmla="*/ 204860 w 524"/>
              <a:gd name="T5" fmla="*/ 171683 h 505"/>
              <a:gd name="T6" fmla="*/ 202740 w 524"/>
              <a:gd name="T7" fmla="*/ 157593 h 505"/>
              <a:gd name="T8" fmla="*/ 192984 w 524"/>
              <a:gd name="T9" fmla="*/ 156028 h 505"/>
              <a:gd name="T10" fmla="*/ 182805 w 524"/>
              <a:gd name="T11" fmla="*/ 150288 h 505"/>
              <a:gd name="T12" fmla="*/ 172625 w 524"/>
              <a:gd name="T13" fmla="*/ 142982 h 505"/>
              <a:gd name="T14" fmla="*/ 163719 w 524"/>
              <a:gd name="T15" fmla="*/ 133589 h 505"/>
              <a:gd name="T16" fmla="*/ 155236 w 524"/>
              <a:gd name="T17" fmla="*/ 123674 h 505"/>
              <a:gd name="T18" fmla="*/ 149298 w 524"/>
              <a:gd name="T19" fmla="*/ 112716 h 505"/>
              <a:gd name="T20" fmla="*/ 145056 w 524"/>
              <a:gd name="T21" fmla="*/ 102279 h 505"/>
              <a:gd name="T22" fmla="*/ 143784 w 524"/>
              <a:gd name="T23" fmla="*/ 92886 h 505"/>
              <a:gd name="T24" fmla="*/ 144632 w 524"/>
              <a:gd name="T25" fmla="*/ 84537 h 505"/>
              <a:gd name="T26" fmla="*/ 148025 w 524"/>
              <a:gd name="T27" fmla="*/ 78275 h 505"/>
              <a:gd name="T28" fmla="*/ 154812 w 524"/>
              <a:gd name="T29" fmla="*/ 70969 h 505"/>
              <a:gd name="T30" fmla="*/ 150146 w 524"/>
              <a:gd name="T31" fmla="*/ 67838 h 505"/>
              <a:gd name="T32" fmla="*/ 144632 w 524"/>
              <a:gd name="T33" fmla="*/ 62098 h 505"/>
              <a:gd name="T34" fmla="*/ 133604 w 524"/>
              <a:gd name="T35" fmla="*/ 45399 h 505"/>
              <a:gd name="T36" fmla="*/ 123849 w 524"/>
              <a:gd name="T37" fmla="*/ 26613 h 505"/>
              <a:gd name="T38" fmla="*/ 118335 w 524"/>
              <a:gd name="T39" fmla="*/ 13046 h 505"/>
              <a:gd name="T40" fmla="*/ 110277 w 524"/>
              <a:gd name="T41" fmla="*/ 12524 h 505"/>
              <a:gd name="T42" fmla="*/ 101370 w 524"/>
              <a:gd name="T43" fmla="*/ 9915 h 505"/>
              <a:gd name="T44" fmla="*/ 92887 w 524"/>
              <a:gd name="T45" fmla="*/ 5740 h 505"/>
              <a:gd name="T46" fmla="*/ 83556 w 524"/>
              <a:gd name="T47" fmla="*/ 3131 h 505"/>
              <a:gd name="T48" fmla="*/ 72104 w 524"/>
              <a:gd name="T49" fmla="*/ 1565 h 505"/>
              <a:gd name="T50" fmla="*/ 63197 w 524"/>
              <a:gd name="T51" fmla="*/ 4175 h 505"/>
              <a:gd name="T52" fmla="*/ 48352 w 524"/>
              <a:gd name="T53" fmla="*/ 21395 h 505"/>
              <a:gd name="T54" fmla="*/ 41566 w 524"/>
              <a:gd name="T55" fmla="*/ 29744 h 505"/>
              <a:gd name="T56" fmla="*/ 39445 w 524"/>
              <a:gd name="T57" fmla="*/ 33397 h 505"/>
              <a:gd name="T58" fmla="*/ 39869 w 524"/>
              <a:gd name="T59" fmla="*/ 49052 h 505"/>
              <a:gd name="T60" fmla="*/ 40293 w 524"/>
              <a:gd name="T61" fmla="*/ 73056 h 505"/>
              <a:gd name="T62" fmla="*/ 39869 w 524"/>
              <a:gd name="T63" fmla="*/ 85580 h 505"/>
              <a:gd name="T64" fmla="*/ 36476 w 524"/>
              <a:gd name="T65" fmla="*/ 93930 h 505"/>
              <a:gd name="T66" fmla="*/ 28417 w 524"/>
              <a:gd name="T67" fmla="*/ 102801 h 505"/>
              <a:gd name="T68" fmla="*/ 16966 w 524"/>
              <a:gd name="T69" fmla="*/ 111672 h 505"/>
              <a:gd name="T70" fmla="*/ 5514 w 524"/>
              <a:gd name="T71" fmla="*/ 118978 h 505"/>
              <a:gd name="T72" fmla="*/ 848 w 524"/>
              <a:gd name="T73" fmla="*/ 128371 h 505"/>
              <a:gd name="T74" fmla="*/ 848 w 524"/>
              <a:gd name="T75" fmla="*/ 137764 h 505"/>
              <a:gd name="T76" fmla="*/ 0 w 524"/>
              <a:gd name="T77" fmla="*/ 145069 h 505"/>
              <a:gd name="T78" fmla="*/ 0 w 524"/>
              <a:gd name="T79" fmla="*/ 150809 h 505"/>
              <a:gd name="T80" fmla="*/ 2969 w 524"/>
              <a:gd name="T81" fmla="*/ 157071 h 505"/>
              <a:gd name="T82" fmla="*/ 11028 w 524"/>
              <a:gd name="T83" fmla="*/ 163855 h 505"/>
              <a:gd name="T84" fmla="*/ 26297 w 524"/>
              <a:gd name="T85" fmla="*/ 172726 h 505"/>
              <a:gd name="T86" fmla="*/ 50897 w 524"/>
              <a:gd name="T87" fmla="*/ 185250 h 505"/>
              <a:gd name="T88" fmla="*/ 76345 w 524"/>
              <a:gd name="T89" fmla="*/ 195165 h 505"/>
              <a:gd name="T90" fmla="*/ 90766 w 524"/>
              <a:gd name="T91" fmla="*/ 200905 h 505"/>
              <a:gd name="T92" fmla="*/ 100521 w 524"/>
              <a:gd name="T93" fmla="*/ 208733 h 505"/>
              <a:gd name="T94" fmla="*/ 106884 w 524"/>
              <a:gd name="T95" fmla="*/ 218126 h 505"/>
              <a:gd name="T96" fmla="*/ 111125 w 524"/>
              <a:gd name="T97" fmla="*/ 226997 h 505"/>
              <a:gd name="T98" fmla="*/ 112822 w 524"/>
              <a:gd name="T99" fmla="*/ 235346 h 505"/>
              <a:gd name="T100" fmla="*/ 114518 w 524"/>
              <a:gd name="T101" fmla="*/ 244739 h 505"/>
              <a:gd name="T102" fmla="*/ 117487 w 524"/>
              <a:gd name="T103" fmla="*/ 251001 h 505"/>
              <a:gd name="T104" fmla="*/ 121729 w 524"/>
              <a:gd name="T105" fmla="*/ 255176 h 505"/>
              <a:gd name="T106" fmla="*/ 130211 w 524"/>
              <a:gd name="T107" fmla="*/ 259350 h 505"/>
              <a:gd name="T108" fmla="*/ 139118 w 524"/>
              <a:gd name="T109" fmla="*/ 262481 h 505"/>
              <a:gd name="T110" fmla="*/ 142087 w 524"/>
              <a:gd name="T111" fmla="*/ 260916 h 505"/>
              <a:gd name="T112" fmla="*/ 146753 w 524"/>
              <a:gd name="T113" fmla="*/ 260394 h 505"/>
              <a:gd name="T114" fmla="*/ 155236 w 524"/>
              <a:gd name="T115" fmla="*/ 262481 h 505"/>
              <a:gd name="T116" fmla="*/ 162446 w 524"/>
              <a:gd name="T117" fmla="*/ 263525 h 505"/>
              <a:gd name="T118" fmla="*/ 185350 w 524"/>
              <a:gd name="T119" fmla="*/ 263525 h 505"/>
              <a:gd name="T120" fmla="*/ 197226 w 524"/>
              <a:gd name="T121" fmla="*/ 234302 h 505"/>
              <a:gd name="T122" fmla="*/ 208677 w 524"/>
              <a:gd name="T123" fmla="*/ 228040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6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26925 w 764"/>
              <a:gd name="T1" fmla="*/ 102595 h 555"/>
              <a:gd name="T2" fmla="*/ 40388 w 764"/>
              <a:gd name="T3" fmla="*/ 99455 h 555"/>
              <a:gd name="T4" fmla="*/ 55588 w 764"/>
              <a:gd name="T5" fmla="*/ 95267 h 555"/>
              <a:gd name="T6" fmla="*/ 75999 w 764"/>
              <a:gd name="T7" fmla="*/ 79040 h 555"/>
              <a:gd name="T8" fmla="*/ 84250 w 764"/>
              <a:gd name="T9" fmla="*/ 65954 h 555"/>
              <a:gd name="T10" fmla="*/ 86421 w 764"/>
              <a:gd name="T11" fmla="*/ 46063 h 555"/>
              <a:gd name="T12" fmla="*/ 90330 w 764"/>
              <a:gd name="T13" fmla="*/ 36118 h 555"/>
              <a:gd name="T14" fmla="*/ 104227 w 764"/>
              <a:gd name="T15" fmla="*/ 31407 h 555"/>
              <a:gd name="T16" fmla="*/ 127678 w 764"/>
              <a:gd name="T17" fmla="*/ 32454 h 555"/>
              <a:gd name="T18" fmla="*/ 142877 w 764"/>
              <a:gd name="T19" fmla="*/ 37165 h 555"/>
              <a:gd name="T20" fmla="*/ 157208 w 764"/>
              <a:gd name="T21" fmla="*/ 47110 h 555"/>
              <a:gd name="T22" fmla="*/ 167631 w 764"/>
              <a:gd name="T23" fmla="*/ 48680 h 555"/>
              <a:gd name="T24" fmla="*/ 181962 w 764"/>
              <a:gd name="T25" fmla="*/ 43969 h 555"/>
              <a:gd name="T26" fmla="*/ 199768 w 764"/>
              <a:gd name="T27" fmla="*/ 31930 h 555"/>
              <a:gd name="T28" fmla="*/ 208019 w 764"/>
              <a:gd name="T29" fmla="*/ 17274 h 555"/>
              <a:gd name="T30" fmla="*/ 220613 w 764"/>
              <a:gd name="T31" fmla="*/ 2094 h 555"/>
              <a:gd name="T32" fmla="*/ 230167 w 764"/>
              <a:gd name="T33" fmla="*/ 9945 h 555"/>
              <a:gd name="T34" fmla="*/ 238853 w 764"/>
              <a:gd name="T35" fmla="*/ 23555 h 555"/>
              <a:gd name="T36" fmla="*/ 243630 w 764"/>
              <a:gd name="T37" fmla="*/ 45540 h 555"/>
              <a:gd name="T38" fmla="*/ 247538 w 764"/>
              <a:gd name="T39" fmla="*/ 52868 h 555"/>
              <a:gd name="T40" fmla="*/ 255789 w 764"/>
              <a:gd name="T41" fmla="*/ 54438 h 555"/>
              <a:gd name="T42" fmla="*/ 270121 w 764"/>
              <a:gd name="T43" fmla="*/ 38211 h 555"/>
              <a:gd name="T44" fmla="*/ 322668 w 764"/>
              <a:gd name="T45" fmla="*/ 34547 h 555"/>
              <a:gd name="T46" fmla="*/ 329617 w 764"/>
              <a:gd name="T47" fmla="*/ 45540 h 555"/>
              <a:gd name="T48" fmla="*/ 294874 w 764"/>
              <a:gd name="T49" fmla="*/ 52345 h 555"/>
              <a:gd name="T50" fmla="*/ 262738 w 764"/>
              <a:gd name="T51" fmla="*/ 58626 h 555"/>
              <a:gd name="T52" fmla="*/ 249275 w 764"/>
              <a:gd name="T53" fmla="*/ 68048 h 555"/>
              <a:gd name="T54" fmla="*/ 247972 w 764"/>
              <a:gd name="T55" fmla="*/ 76946 h 555"/>
              <a:gd name="T56" fmla="*/ 252749 w 764"/>
              <a:gd name="T57" fmla="*/ 85845 h 555"/>
              <a:gd name="T58" fmla="*/ 261001 w 764"/>
              <a:gd name="T59" fmla="*/ 94220 h 555"/>
              <a:gd name="T60" fmla="*/ 262304 w 764"/>
              <a:gd name="T61" fmla="*/ 102072 h 555"/>
              <a:gd name="T62" fmla="*/ 257961 w 764"/>
              <a:gd name="T63" fmla="*/ 111494 h 555"/>
              <a:gd name="T64" fmla="*/ 249275 w 764"/>
              <a:gd name="T65" fmla="*/ 124056 h 555"/>
              <a:gd name="T66" fmla="*/ 245367 w 764"/>
              <a:gd name="T67" fmla="*/ 133478 h 555"/>
              <a:gd name="T68" fmla="*/ 235378 w 764"/>
              <a:gd name="T69" fmla="*/ 140807 h 555"/>
              <a:gd name="T70" fmla="*/ 225390 w 764"/>
              <a:gd name="T71" fmla="*/ 162268 h 555"/>
              <a:gd name="T72" fmla="*/ 220613 w 764"/>
              <a:gd name="T73" fmla="*/ 190011 h 555"/>
              <a:gd name="T74" fmla="*/ 215836 w 764"/>
              <a:gd name="T75" fmla="*/ 222464 h 555"/>
              <a:gd name="T76" fmla="*/ 207150 w 764"/>
              <a:gd name="T77" fmla="*/ 215659 h 555"/>
              <a:gd name="T78" fmla="*/ 199768 w 764"/>
              <a:gd name="T79" fmla="*/ 213042 h 555"/>
              <a:gd name="T80" fmla="*/ 190648 w 764"/>
              <a:gd name="T81" fmla="*/ 218800 h 555"/>
              <a:gd name="T82" fmla="*/ 178488 w 764"/>
              <a:gd name="T83" fmla="*/ 230316 h 555"/>
              <a:gd name="T84" fmla="*/ 170671 w 764"/>
              <a:gd name="T85" fmla="*/ 232410 h 555"/>
              <a:gd name="T86" fmla="*/ 162854 w 764"/>
              <a:gd name="T87" fmla="*/ 242355 h 555"/>
              <a:gd name="T88" fmla="*/ 158511 w 764"/>
              <a:gd name="T89" fmla="*/ 267480 h 555"/>
              <a:gd name="T90" fmla="*/ 151997 w 764"/>
              <a:gd name="T91" fmla="*/ 274809 h 555"/>
              <a:gd name="T92" fmla="*/ 117255 w 764"/>
              <a:gd name="T93" fmla="*/ 285801 h 555"/>
              <a:gd name="T94" fmla="*/ 84250 w 764"/>
              <a:gd name="T95" fmla="*/ 289989 h 555"/>
              <a:gd name="T96" fmla="*/ 49073 w 764"/>
              <a:gd name="T97" fmla="*/ 283707 h 555"/>
              <a:gd name="T98" fmla="*/ 41256 w 764"/>
              <a:gd name="T99" fmla="*/ 271145 h 555"/>
              <a:gd name="T100" fmla="*/ 49942 w 764"/>
              <a:gd name="T101" fmla="*/ 255441 h 555"/>
              <a:gd name="T102" fmla="*/ 54285 w 764"/>
              <a:gd name="T103" fmla="*/ 241832 h 555"/>
              <a:gd name="T104" fmla="*/ 53416 w 764"/>
              <a:gd name="T105" fmla="*/ 231363 h 555"/>
              <a:gd name="T106" fmla="*/ 48205 w 764"/>
              <a:gd name="T107" fmla="*/ 226652 h 555"/>
              <a:gd name="T108" fmla="*/ 29965 w 764"/>
              <a:gd name="T109" fmla="*/ 225605 h 555"/>
              <a:gd name="T110" fmla="*/ 22582 w 764"/>
              <a:gd name="T111" fmla="*/ 220370 h 555"/>
              <a:gd name="T112" fmla="*/ 14765 w 764"/>
              <a:gd name="T113" fmla="*/ 201003 h 555"/>
              <a:gd name="T114" fmla="*/ 8251 w 764"/>
              <a:gd name="T115" fmla="*/ 161745 h 555"/>
              <a:gd name="T116" fmla="*/ 4343 w 764"/>
              <a:gd name="T117" fmla="*/ 152323 h 555"/>
              <a:gd name="T118" fmla="*/ 0 w 764"/>
              <a:gd name="T119" fmla="*/ 146565 h 555"/>
              <a:gd name="T120" fmla="*/ 869 w 764"/>
              <a:gd name="T121" fmla="*/ 140283 h 555"/>
              <a:gd name="T122" fmla="*/ 9554 w 764"/>
              <a:gd name="T123" fmla="*/ 129814 h 555"/>
              <a:gd name="T124" fmla="*/ 14765 w 764"/>
              <a:gd name="T125" fmla="*/ 115681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7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342277 w 831"/>
              <a:gd name="T1" fmla="*/ 42804 h 812"/>
              <a:gd name="T2" fmla="*/ 310642 w 831"/>
              <a:gd name="T3" fmla="*/ 15138 h 812"/>
              <a:gd name="T4" fmla="*/ 246932 w 831"/>
              <a:gd name="T5" fmla="*/ 5220 h 812"/>
              <a:gd name="T6" fmla="*/ 219251 w 831"/>
              <a:gd name="T7" fmla="*/ 15138 h 812"/>
              <a:gd name="T8" fmla="*/ 213539 w 831"/>
              <a:gd name="T9" fmla="*/ 25578 h 812"/>
              <a:gd name="T10" fmla="*/ 218372 w 831"/>
              <a:gd name="T11" fmla="*/ 37062 h 812"/>
              <a:gd name="T12" fmla="*/ 227160 w 831"/>
              <a:gd name="T13" fmla="*/ 46980 h 812"/>
              <a:gd name="T14" fmla="*/ 226720 w 831"/>
              <a:gd name="T15" fmla="*/ 57942 h 812"/>
              <a:gd name="T16" fmla="*/ 215736 w 831"/>
              <a:gd name="T17" fmla="*/ 73080 h 812"/>
              <a:gd name="T18" fmla="*/ 210903 w 831"/>
              <a:gd name="T19" fmla="*/ 84564 h 812"/>
              <a:gd name="T20" fmla="*/ 197721 w 831"/>
              <a:gd name="T21" fmla="*/ 96048 h 812"/>
              <a:gd name="T22" fmla="*/ 187615 w 831"/>
              <a:gd name="T23" fmla="*/ 126846 h 812"/>
              <a:gd name="T24" fmla="*/ 184540 w 831"/>
              <a:gd name="T25" fmla="*/ 173304 h 812"/>
              <a:gd name="T26" fmla="*/ 172237 w 831"/>
              <a:gd name="T27" fmla="*/ 166518 h 812"/>
              <a:gd name="T28" fmla="*/ 162571 w 831"/>
              <a:gd name="T29" fmla="*/ 164430 h 812"/>
              <a:gd name="T30" fmla="*/ 148511 w 831"/>
              <a:gd name="T31" fmla="*/ 176958 h 812"/>
              <a:gd name="T32" fmla="*/ 137526 w 831"/>
              <a:gd name="T33" fmla="*/ 183222 h 812"/>
              <a:gd name="T34" fmla="*/ 127420 w 831"/>
              <a:gd name="T35" fmla="*/ 193140 h 812"/>
              <a:gd name="T36" fmla="*/ 123026 w 831"/>
              <a:gd name="T37" fmla="*/ 221327 h 812"/>
              <a:gd name="T38" fmla="*/ 103254 w 831"/>
              <a:gd name="T39" fmla="*/ 230723 h 812"/>
              <a:gd name="T40" fmla="*/ 55801 w 831"/>
              <a:gd name="T41" fmla="*/ 241163 h 812"/>
              <a:gd name="T42" fmla="*/ 11424 w 831"/>
              <a:gd name="T43" fmla="*/ 234377 h 812"/>
              <a:gd name="T44" fmla="*/ 22408 w 831"/>
              <a:gd name="T45" fmla="*/ 263609 h 812"/>
              <a:gd name="T46" fmla="*/ 42181 w 831"/>
              <a:gd name="T47" fmla="*/ 281879 h 812"/>
              <a:gd name="T48" fmla="*/ 54044 w 831"/>
              <a:gd name="T49" fmla="*/ 301193 h 812"/>
              <a:gd name="T50" fmla="*/ 62392 w 831"/>
              <a:gd name="T51" fmla="*/ 311111 h 812"/>
              <a:gd name="T52" fmla="*/ 43499 w 831"/>
              <a:gd name="T53" fmla="*/ 337733 h 812"/>
              <a:gd name="T54" fmla="*/ 38226 w 831"/>
              <a:gd name="T55" fmla="*/ 350261 h 812"/>
              <a:gd name="T56" fmla="*/ 47892 w 831"/>
              <a:gd name="T57" fmla="*/ 375839 h 812"/>
              <a:gd name="T58" fmla="*/ 97542 w 831"/>
              <a:gd name="T59" fmla="*/ 370619 h 812"/>
              <a:gd name="T60" fmla="*/ 132693 w 831"/>
              <a:gd name="T61" fmla="*/ 368009 h 812"/>
              <a:gd name="T62" fmla="*/ 144995 w 831"/>
              <a:gd name="T63" fmla="*/ 376361 h 812"/>
              <a:gd name="T64" fmla="*/ 157738 w 831"/>
              <a:gd name="T65" fmla="*/ 394631 h 812"/>
              <a:gd name="T66" fmla="*/ 179267 w 831"/>
              <a:gd name="T67" fmla="*/ 409769 h 812"/>
              <a:gd name="T68" fmla="*/ 197282 w 831"/>
              <a:gd name="T69" fmla="*/ 419165 h 812"/>
              <a:gd name="T70" fmla="*/ 202115 w 831"/>
              <a:gd name="T71" fmla="*/ 412901 h 812"/>
              <a:gd name="T72" fmla="*/ 213978 w 831"/>
              <a:gd name="T73" fmla="*/ 404027 h 812"/>
              <a:gd name="T74" fmla="*/ 243417 w 831"/>
              <a:gd name="T75" fmla="*/ 398807 h 812"/>
              <a:gd name="T76" fmla="*/ 262310 w 831"/>
              <a:gd name="T77" fmla="*/ 391499 h 812"/>
              <a:gd name="T78" fmla="*/ 271537 w 831"/>
              <a:gd name="T79" fmla="*/ 379493 h 812"/>
              <a:gd name="T80" fmla="*/ 256598 w 831"/>
              <a:gd name="T81" fmla="*/ 365399 h 812"/>
              <a:gd name="T82" fmla="*/ 238144 w 831"/>
              <a:gd name="T83" fmla="*/ 334601 h 812"/>
              <a:gd name="T84" fmla="*/ 231114 w 831"/>
              <a:gd name="T85" fmla="*/ 325727 h 812"/>
              <a:gd name="T86" fmla="*/ 231114 w 831"/>
              <a:gd name="T87" fmla="*/ 301715 h 812"/>
              <a:gd name="T88" fmla="*/ 255719 w 831"/>
              <a:gd name="T89" fmla="*/ 293885 h 812"/>
              <a:gd name="T90" fmla="*/ 273295 w 831"/>
              <a:gd name="T91" fmla="*/ 277181 h 812"/>
              <a:gd name="T92" fmla="*/ 302294 w 831"/>
              <a:gd name="T93" fmla="*/ 217673 h 812"/>
              <a:gd name="T94" fmla="*/ 320748 w 831"/>
              <a:gd name="T95" fmla="*/ 192096 h 812"/>
              <a:gd name="T96" fmla="*/ 318551 w 831"/>
              <a:gd name="T97" fmla="*/ 172260 h 812"/>
              <a:gd name="T98" fmla="*/ 320308 w 831"/>
              <a:gd name="T99" fmla="*/ 159210 h 812"/>
              <a:gd name="T100" fmla="*/ 329975 w 831"/>
              <a:gd name="T101" fmla="*/ 150858 h 812"/>
              <a:gd name="T102" fmla="*/ 294385 w 831"/>
              <a:gd name="T103" fmla="*/ 108054 h 812"/>
              <a:gd name="T104" fmla="*/ 333050 w 831"/>
              <a:gd name="T105" fmla="*/ 73080 h 812"/>
              <a:gd name="T106" fmla="*/ 353701 w 831"/>
              <a:gd name="T107" fmla="*/ 64206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8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191387 w 505"/>
              <a:gd name="T1" fmla="*/ 557569 h 1121"/>
              <a:gd name="T2" fmla="*/ 193572 w 505"/>
              <a:gd name="T3" fmla="*/ 537189 h 1121"/>
              <a:gd name="T4" fmla="*/ 174346 w 505"/>
              <a:gd name="T5" fmla="*/ 534054 h 1121"/>
              <a:gd name="T6" fmla="*/ 176967 w 505"/>
              <a:gd name="T7" fmla="*/ 500088 h 1121"/>
              <a:gd name="T8" fmla="*/ 183085 w 505"/>
              <a:gd name="T9" fmla="*/ 486501 h 1121"/>
              <a:gd name="T10" fmla="*/ 180463 w 505"/>
              <a:gd name="T11" fmla="*/ 469779 h 1121"/>
              <a:gd name="T12" fmla="*/ 173909 w 505"/>
              <a:gd name="T13" fmla="*/ 466644 h 1121"/>
              <a:gd name="T14" fmla="*/ 166917 w 505"/>
              <a:gd name="T15" fmla="*/ 437903 h 1121"/>
              <a:gd name="T16" fmla="*/ 141574 w 505"/>
              <a:gd name="T17" fmla="*/ 375719 h 1121"/>
              <a:gd name="T18" fmla="*/ 129339 w 505"/>
              <a:gd name="T19" fmla="*/ 367358 h 1121"/>
              <a:gd name="T20" fmla="*/ 123222 w 505"/>
              <a:gd name="T21" fmla="*/ 375196 h 1121"/>
              <a:gd name="T22" fmla="*/ 98752 w 505"/>
              <a:gd name="T23" fmla="*/ 387738 h 1121"/>
              <a:gd name="T24" fmla="*/ 73846 w 505"/>
              <a:gd name="T25" fmla="*/ 384602 h 1121"/>
              <a:gd name="T26" fmla="*/ 58115 w 505"/>
              <a:gd name="T27" fmla="*/ 296290 h 1121"/>
              <a:gd name="T28" fmla="*/ 44133 w 505"/>
              <a:gd name="T29" fmla="*/ 271730 h 1121"/>
              <a:gd name="T30" fmla="*/ 22285 w 505"/>
              <a:gd name="T31" fmla="*/ 262324 h 1121"/>
              <a:gd name="T32" fmla="*/ 3496 w 505"/>
              <a:gd name="T33" fmla="*/ 246125 h 1121"/>
              <a:gd name="T34" fmla="*/ 10050 w 505"/>
              <a:gd name="T35" fmla="*/ 232538 h 1121"/>
              <a:gd name="T36" fmla="*/ 25343 w 505"/>
              <a:gd name="T37" fmla="*/ 188643 h 1121"/>
              <a:gd name="T38" fmla="*/ 29276 w 505"/>
              <a:gd name="T39" fmla="*/ 144748 h 1121"/>
              <a:gd name="T40" fmla="*/ 34957 w 505"/>
              <a:gd name="T41" fmla="*/ 138478 h 1121"/>
              <a:gd name="T42" fmla="*/ 49376 w 505"/>
              <a:gd name="T43" fmla="*/ 134820 h 1121"/>
              <a:gd name="T44" fmla="*/ 58552 w 505"/>
              <a:gd name="T45" fmla="*/ 116008 h 1121"/>
              <a:gd name="T46" fmla="*/ 61174 w 505"/>
              <a:gd name="T47" fmla="*/ 61139 h 1121"/>
              <a:gd name="T48" fmla="*/ 69476 w 505"/>
              <a:gd name="T49" fmla="*/ 51211 h 1121"/>
              <a:gd name="T50" fmla="*/ 93072 w 505"/>
              <a:gd name="T51" fmla="*/ 38669 h 1121"/>
              <a:gd name="T52" fmla="*/ 102248 w 505"/>
              <a:gd name="T53" fmla="*/ 10974 h 1121"/>
              <a:gd name="T54" fmla="*/ 121037 w 505"/>
              <a:gd name="T55" fmla="*/ 16199 h 1121"/>
              <a:gd name="T56" fmla="*/ 136330 w 505"/>
              <a:gd name="T57" fmla="*/ 25605 h 1121"/>
              <a:gd name="T58" fmla="*/ 147254 w 505"/>
              <a:gd name="T59" fmla="*/ 63752 h 1121"/>
              <a:gd name="T60" fmla="*/ 146380 w 505"/>
              <a:gd name="T61" fmla="*/ 87267 h 1121"/>
              <a:gd name="T62" fmla="*/ 131087 w 505"/>
              <a:gd name="T63" fmla="*/ 112872 h 1121"/>
              <a:gd name="T64" fmla="*/ 128028 w 505"/>
              <a:gd name="T65" fmla="*/ 128027 h 1121"/>
              <a:gd name="T66" fmla="*/ 135020 w 505"/>
              <a:gd name="T67" fmla="*/ 136388 h 1121"/>
              <a:gd name="T68" fmla="*/ 151187 w 505"/>
              <a:gd name="T69" fmla="*/ 141091 h 1121"/>
              <a:gd name="T70" fmla="*/ 162111 w 505"/>
              <a:gd name="T71" fmla="*/ 152064 h 1121"/>
              <a:gd name="T72" fmla="*/ 173909 w 505"/>
              <a:gd name="T73" fmla="*/ 180282 h 1121"/>
              <a:gd name="T74" fmla="*/ 187891 w 505"/>
              <a:gd name="T75" fmla="*/ 209023 h 1121"/>
              <a:gd name="T76" fmla="*/ 202748 w 505"/>
              <a:gd name="T77" fmla="*/ 218429 h 1121"/>
              <a:gd name="T78" fmla="*/ 220663 w 505"/>
              <a:gd name="T79" fmla="*/ 218429 h 1121"/>
              <a:gd name="T80" fmla="*/ 207991 w 505"/>
              <a:gd name="T81" fmla="*/ 258143 h 1121"/>
              <a:gd name="T82" fmla="*/ 186580 w 505"/>
              <a:gd name="T83" fmla="*/ 266504 h 1121"/>
              <a:gd name="T84" fmla="*/ 167354 w 505"/>
              <a:gd name="T85" fmla="*/ 275910 h 1121"/>
              <a:gd name="T86" fmla="*/ 157304 w 505"/>
              <a:gd name="T87" fmla="*/ 298903 h 1121"/>
              <a:gd name="T88" fmla="*/ 161674 w 505"/>
              <a:gd name="T89" fmla="*/ 332869 h 1121"/>
              <a:gd name="T90" fmla="*/ 175656 w 505"/>
              <a:gd name="T91" fmla="*/ 356907 h 1121"/>
              <a:gd name="T92" fmla="*/ 187891 w 505"/>
              <a:gd name="T93" fmla="*/ 384080 h 1121"/>
              <a:gd name="T94" fmla="*/ 187017 w 505"/>
              <a:gd name="T95" fmla="*/ 405505 h 1121"/>
              <a:gd name="T96" fmla="*/ 183085 w 505"/>
              <a:gd name="T97" fmla="*/ 418569 h 1121"/>
              <a:gd name="T98" fmla="*/ 190076 w 505"/>
              <a:gd name="T99" fmla="*/ 444696 h 1121"/>
              <a:gd name="T100" fmla="*/ 211050 w 505"/>
              <a:gd name="T101" fmla="*/ 504268 h 1121"/>
              <a:gd name="T102" fmla="*/ 200126 w 505"/>
              <a:gd name="T103" fmla="*/ 56540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39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80963 w 180"/>
              <a:gd name="T1" fmla="*/ 3671 h 112"/>
              <a:gd name="T2" fmla="*/ 76915 w 180"/>
              <a:gd name="T3" fmla="*/ 12587 h 112"/>
              <a:gd name="T4" fmla="*/ 73316 w 180"/>
              <a:gd name="T5" fmla="*/ 20453 h 112"/>
              <a:gd name="T6" fmla="*/ 68369 w 180"/>
              <a:gd name="T7" fmla="*/ 27796 h 112"/>
              <a:gd name="T8" fmla="*/ 63421 w 180"/>
              <a:gd name="T9" fmla="*/ 34613 h 112"/>
              <a:gd name="T10" fmla="*/ 58023 w 180"/>
              <a:gd name="T11" fmla="*/ 41956 h 112"/>
              <a:gd name="T12" fmla="*/ 51726 w 180"/>
              <a:gd name="T13" fmla="*/ 48249 h 112"/>
              <a:gd name="T14" fmla="*/ 45429 w 180"/>
              <a:gd name="T15" fmla="*/ 53494 h 112"/>
              <a:gd name="T16" fmla="*/ 39132 w 180"/>
              <a:gd name="T17" fmla="*/ 58738 h 112"/>
              <a:gd name="T18" fmla="*/ 36883 w 180"/>
              <a:gd name="T19" fmla="*/ 56116 h 112"/>
              <a:gd name="T20" fmla="*/ 35534 w 180"/>
              <a:gd name="T21" fmla="*/ 52969 h 112"/>
              <a:gd name="T22" fmla="*/ 34184 w 180"/>
              <a:gd name="T23" fmla="*/ 49822 h 112"/>
              <a:gd name="T24" fmla="*/ 33285 w 180"/>
              <a:gd name="T25" fmla="*/ 46151 h 112"/>
              <a:gd name="T26" fmla="*/ 31486 w 180"/>
              <a:gd name="T27" fmla="*/ 42480 h 112"/>
              <a:gd name="T28" fmla="*/ 30586 w 180"/>
              <a:gd name="T29" fmla="*/ 38809 h 112"/>
              <a:gd name="T30" fmla="*/ 29237 w 180"/>
              <a:gd name="T31" fmla="*/ 36187 h 112"/>
              <a:gd name="T32" fmla="*/ 26988 w 180"/>
              <a:gd name="T33" fmla="*/ 33040 h 112"/>
              <a:gd name="T34" fmla="*/ 20241 w 180"/>
              <a:gd name="T35" fmla="*/ 25173 h 112"/>
              <a:gd name="T36" fmla="*/ 16193 w 180"/>
              <a:gd name="T37" fmla="*/ 19929 h 112"/>
              <a:gd name="T38" fmla="*/ 13494 w 180"/>
              <a:gd name="T39" fmla="*/ 17307 h 112"/>
              <a:gd name="T40" fmla="*/ 11245 w 180"/>
              <a:gd name="T41" fmla="*/ 16258 h 112"/>
              <a:gd name="T42" fmla="*/ 8096 w 180"/>
              <a:gd name="T43" fmla="*/ 15733 h 112"/>
              <a:gd name="T44" fmla="*/ 0 w 180"/>
              <a:gd name="T45" fmla="*/ 13636 h 112"/>
              <a:gd name="T46" fmla="*/ 11695 w 180"/>
              <a:gd name="T47" fmla="*/ 7342 h 112"/>
              <a:gd name="T48" fmla="*/ 18442 w 180"/>
              <a:gd name="T49" fmla="*/ 4720 h 112"/>
              <a:gd name="T50" fmla="*/ 25188 w 180"/>
              <a:gd name="T51" fmla="*/ 2622 h 112"/>
              <a:gd name="T52" fmla="*/ 33285 w 180"/>
              <a:gd name="T53" fmla="*/ 1573 h 112"/>
              <a:gd name="T54" fmla="*/ 41831 w 180"/>
              <a:gd name="T55" fmla="*/ 524 h 112"/>
              <a:gd name="T56" fmla="*/ 51277 w 180"/>
              <a:gd name="T57" fmla="*/ 0 h 112"/>
              <a:gd name="T58" fmla="*/ 60722 w 180"/>
              <a:gd name="T59" fmla="*/ 524 h 112"/>
              <a:gd name="T60" fmla="*/ 70618 w 180"/>
              <a:gd name="T61" fmla="*/ 1573 h 112"/>
              <a:gd name="T62" fmla="*/ 80963 w 180"/>
              <a:gd name="T63" fmla="*/ 3671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0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35421 h 192"/>
              <a:gd name="T2" fmla="*/ 11645 w 173"/>
              <a:gd name="T3" fmla="*/ 21878 h 192"/>
              <a:gd name="T4" fmla="*/ 21995 w 173"/>
              <a:gd name="T5" fmla="*/ 10939 h 192"/>
              <a:gd name="T6" fmla="*/ 24152 w 173"/>
              <a:gd name="T7" fmla="*/ 8334 h 192"/>
              <a:gd name="T8" fmla="*/ 27171 w 173"/>
              <a:gd name="T9" fmla="*/ 6251 h 192"/>
              <a:gd name="T10" fmla="*/ 30190 w 173"/>
              <a:gd name="T11" fmla="*/ 4167 h 192"/>
              <a:gd name="T12" fmla="*/ 32778 w 173"/>
              <a:gd name="T13" fmla="*/ 3125 h 192"/>
              <a:gd name="T14" fmla="*/ 35797 w 173"/>
              <a:gd name="T15" fmla="*/ 1563 h 192"/>
              <a:gd name="T16" fmla="*/ 38815 w 173"/>
              <a:gd name="T17" fmla="*/ 1042 h 192"/>
              <a:gd name="T18" fmla="*/ 42266 w 173"/>
              <a:gd name="T19" fmla="*/ 521 h 192"/>
              <a:gd name="T20" fmla="*/ 46147 w 173"/>
              <a:gd name="T21" fmla="*/ 0 h 192"/>
              <a:gd name="T22" fmla="*/ 50029 w 173"/>
              <a:gd name="T23" fmla="*/ 521 h 192"/>
              <a:gd name="T24" fmla="*/ 53479 w 173"/>
              <a:gd name="T25" fmla="*/ 1042 h 192"/>
              <a:gd name="T26" fmla="*/ 56929 w 173"/>
              <a:gd name="T27" fmla="*/ 2605 h 192"/>
              <a:gd name="T28" fmla="*/ 59948 w 173"/>
              <a:gd name="T29" fmla="*/ 4167 h 192"/>
              <a:gd name="T30" fmla="*/ 62536 w 173"/>
              <a:gd name="T31" fmla="*/ 6772 h 192"/>
              <a:gd name="T32" fmla="*/ 65124 w 173"/>
              <a:gd name="T33" fmla="*/ 9897 h 192"/>
              <a:gd name="T34" fmla="*/ 66849 w 173"/>
              <a:gd name="T35" fmla="*/ 12502 h 192"/>
              <a:gd name="T36" fmla="*/ 69005 w 173"/>
              <a:gd name="T37" fmla="*/ 15627 h 192"/>
              <a:gd name="T38" fmla="*/ 70299 w 173"/>
              <a:gd name="T39" fmla="*/ 19273 h 192"/>
              <a:gd name="T40" fmla="*/ 71593 w 173"/>
              <a:gd name="T41" fmla="*/ 22399 h 192"/>
              <a:gd name="T42" fmla="*/ 72456 w 173"/>
              <a:gd name="T43" fmla="*/ 26045 h 192"/>
              <a:gd name="T44" fmla="*/ 72887 w 173"/>
              <a:gd name="T45" fmla="*/ 29691 h 192"/>
              <a:gd name="T46" fmla="*/ 74181 w 173"/>
              <a:gd name="T47" fmla="*/ 37505 h 192"/>
              <a:gd name="T48" fmla="*/ 74612 w 173"/>
              <a:gd name="T49" fmla="*/ 45318 h 192"/>
              <a:gd name="T50" fmla="*/ 67711 w 173"/>
              <a:gd name="T51" fmla="*/ 59383 h 192"/>
              <a:gd name="T52" fmla="*/ 62967 w 173"/>
              <a:gd name="T53" fmla="*/ 71363 h 192"/>
              <a:gd name="T54" fmla="*/ 59948 w 173"/>
              <a:gd name="T55" fmla="*/ 77093 h 192"/>
              <a:gd name="T56" fmla="*/ 56067 w 173"/>
              <a:gd name="T57" fmla="*/ 83344 h 192"/>
              <a:gd name="T58" fmla="*/ 50460 w 173"/>
              <a:gd name="T59" fmla="*/ 90637 h 192"/>
              <a:gd name="T60" fmla="*/ 42697 w 173"/>
              <a:gd name="T61" fmla="*/ 100013 h 192"/>
              <a:gd name="T62" fmla="*/ 37090 w 173"/>
              <a:gd name="T63" fmla="*/ 95325 h 192"/>
              <a:gd name="T64" fmla="*/ 31915 w 173"/>
              <a:gd name="T65" fmla="*/ 91679 h 192"/>
              <a:gd name="T66" fmla="*/ 27171 w 173"/>
              <a:gd name="T67" fmla="*/ 88032 h 192"/>
              <a:gd name="T68" fmla="*/ 23289 w 173"/>
              <a:gd name="T69" fmla="*/ 84907 h 192"/>
              <a:gd name="T70" fmla="*/ 19839 w 173"/>
              <a:gd name="T71" fmla="*/ 81261 h 192"/>
              <a:gd name="T72" fmla="*/ 17251 w 173"/>
              <a:gd name="T73" fmla="*/ 78135 h 192"/>
              <a:gd name="T74" fmla="*/ 14664 w 173"/>
              <a:gd name="T75" fmla="*/ 75010 h 192"/>
              <a:gd name="T76" fmla="*/ 12938 w 173"/>
              <a:gd name="T77" fmla="*/ 71363 h 192"/>
              <a:gd name="T78" fmla="*/ 9488 w 173"/>
              <a:gd name="T79" fmla="*/ 64071 h 192"/>
              <a:gd name="T80" fmla="*/ 6901 w 173"/>
              <a:gd name="T81" fmla="*/ 55736 h 192"/>
              <a:gd name="T82" fmla="*/ 3882 w 173"/>
              <a:gd name="T83" fmla="*/ 46881 h 192"/>
              <a:gd name="T84" fmla="*/ 0 w 173"/>
              <a:gd name="T85" fmla="*/ 35421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1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33276 w 233"/>
              <a:gd name="T1" fmla="*/ 0 h 252"/>
              <a:gd name="T2" fmla="*/ 37323 w 233"/>
              <a:gd name="T3" fmla="*/ 1046 h 252"/>
              <a:gd name="T4" fmla="*/ 40021 w 233"/>
              <a:gd name="T5" fmla="*/ 1569 h 252"/>
              <a:gd name="T6" fmla="*/ 42719 w 233"/>
              <a:gd name="T7" fmla="*/ 1569 h 252"/>
              <a:gd name="T8" fmla="*/ 44518 w 233"/>
              <a:gd name="T9" fmla="*/ 1046 h 252"/>
              <a:gd name="T10" fmla="*/ 47666 w 233"/>
              <a:gd name="T11" fmla="*/ 523 h 252"/>
              <a:gd name="T12" fmla="*/ 50814 w 233"/>
              <a:gd name="T13" fmla="*/ 0 h 252"/>
              <a:gd name="T14" fmla="*/ 56210 w 233"/>
              <a:gd name="T15" fmla="*/ 8889 h 252"/>
              <a:gd name="T16" fmla="*/ 62955 w 233"/>
              <a:gd name="T17" fmla="*/ 19346 h 252"/>
              <a:gd name="T18" fmla="*/ 64754 w 233"/>
              <a:gd name="T19" fmla="*/ 21961 h 252"/>
              <a:gd name="T20" fmla="*/ 66552 w 233"/>
              <a:gd name="T21" fmla="*/ 24052 h 252"/>
              <a:gd name="T22" fmla="*/ 68801 w 233"/>
              <a:gd name="T23" fmla="*/ 25621 h 252"/>
              <a:gd name="T24" fmla="*/ 70599 w 233"/>
              <a:gd name="T25" fmla="*/ 27189 h 252"/>
              <a:gd name="T26" fmla="*/ 73298 w 233"/>
              <a:gd name="T27" fmla="*/ 28235 h 252"/>
              <a:gd name="T28" fmla="*/ 75546 w 233"/>
              <a:gd name="T29" fmla="*/ 29281 h 252"/>
              <a:gd name="T30" fmla="*/ 78244 w 233"/>
              <a:gd name="T31" fmla="*/ 29281 h 252"/>
              <a:gd name="T32" fmla="*/ 80942 w 233"/>
              <a:gd name="T33" fmla="*/ 29281 h 252"/>
              <a:gd name="T34" fmla="*/ 80942 w 233"/>
              <a:gd name="T35" fmla="*/ 41830 h 252"/>
              <a:gd name="T36" fmla="*/ 86788 w 233"/>
              <a:gd name="T37" fmla="*/ 53856 h 252"/>
              <a:gd name="T38" fmla="*/ 95332 w 233"/>
              <a:gd name="T39" fmla="*/ 66927 h 252"/>
              <a:gd name="T40" fmla="*/ 96681 w 233"/>
              <a:gd name="T41" fmla="*/ 70587 h 252"/>
              <a:gd name="T42" fmla="*/ 98929 w 233"/>
              <a:gd name="T43" fmla="*/ 74247 h 252"/>
              <a:gd name="T44" fmla="*/ 100278 w 233"/>
              <a:gd name="T45" fmla="*/ 78953 h 252"/>
              <a:gd name="T46" fmla="*/ 101627 w 233"/>
              <a:gd name="T47" fmla="*/ 83659 h 252"/>
              <a:gd name="T48" fmla="*/ 103426 w 233"/>
              <a:gd name="T49" fmla="*/ 88888 h 252"/>
              <a:gd name="T50" fmla="*/ 104325 w 233"/>
              <a:gd name="T51" fmla="*/ 94116 h 252"/>
              <a:gd name="T52" fmla="*/ 104775 w 233"/>
              <a:gd name="T53" fmla="*/ 99868 h 252"/>
              <a:gd name="T54" fmla="*/ 104775 w 233"/>
              <a:gd name="T55" fmla="*/ 106665 h 252"/>
              <a:gd name="T56" fmla="*/ 104325 w 233"/>
              <a:gd name="T57" fmla="*/ 112940 h 252"/>
              <a:gd name="T58" fmla="*/ 103426 w 233"/>
              <a:gd name="T59" fmla="*/ 119214 h 252"/>
              <a:gd name="T60" fmla="*/ 102077 w 233"/>
              <a:gd name="T61" fmla="*/ 125489 h 252"/>
              <a:gd name="T62" fmla="*/ 101627 w 233"/>
              <a:gd name="T63" fmla="*/ 131763 h 252"/>
              <a:gd name="T64" fmla="*/ 99829 w 233"/>
              <a:gd name="T65" fmla="*/ 131763 h 252"/>
              <a:gd name="T66" fmla="*/ 96681 w 233"/>
              <a:gd name="T67" fmla="*/ 130717 h 252"/>
              <a:gd name="T68" fmla="*/ 93533 w 233"/>
              <a:gd name="T69" fmla="*/ 128626 h 252"/>
              <a:gd name="T70" fmla="*/ 89036 w 233"/>
              <a:gd name="T71" fmla="*/ 126011 h 252"/>
              <a:gd name="T72" fmla="*/ 79143 w 233"/>
              <a:gd name="T73" fmla="*/ 118168 h 252"/>
              <a:gd name="T74" fmla="*/ 67901 w 233"/>
              <a:gd name="T75" fmla="*/ 108757 h 252"/>
              <a:gd name="T76" fmla="*/ 56210 w 233"/>
              <a:gd name="T77" fmla="*/ 97254 h 252"/>
              <a:gd name="T78" fmla="*/ 44968 w 233"/>
              <a:gd name="T79" fmla="*/ 86273 h 252"/>
              <a:gd name="T80" fmla="*/ 35075 w 233"/>
              <a:gd name="T81" fmla="*/ 75816 h 252"/>
              <a:gd name="T82" fmla="*/ 27430 w 233"/>
              <a:gd name="T83" fmla="*/ 67450 h 252"/>
              <a:gd name="T84" fmla="*/ 24732 w 233"/>
              <a:gd name="T85" fmla="*/ 65359 h 252"/>
              <a:gd name="T86" fmla="*/ 21585 w 233"/>
              <a:gd name="T87" fmla="*/ 62744 h 252"/>
              <a:gd name="T88" fmla="*/ 18437 w 233"/>
              <a:gd name="T89" fmla="*/ 60653 h 252"/>
              <a:gd name="T90" fmla="*/ 14839 w 233"/>
              <a:gd name="T91" fmla="*/ 58561 h 252"/>
              <a:gd name="T92" fmla="*/ 7645 w 233"/>
              <a:gd name="T93" fmla="*/ 54378 h 252"/>
              <a:gd name="T94" fmla="*/ 0 w 233"/>
              <a:gd name="T95" fmla="*/ 51764 h 252"/>
              <a:gd name="T96" fmla="*/ 17987 w 233"/>
              <a:gd name="T97" fmla="*/ 32941 h 252"/>
              <a:gd name="T98" fmla="*/ 26531 w 233"/>
              <a:gd name="T99" fmla="*/ 22483 h 252"/>
              <a:gd name="T100" fmla="*/ 29229 w 233"/>
              <a:gd name="T101" fmla="*/ 17255 h 252"/>
              <a:gd name="T102" fmla="*/ 31028 w 233"/>
              <a:gd name="T103" fmla="*/ 13072 h 252"/>
              <a:gd name="T104" fmla="*/ 32377 w 233"/>
              <a:gd name="T105" fmla="*/ 7320 h 252"/>
              <a:gd name="T106" fmla="*/ 33276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2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5537 w 246"/>
              <a:gd name="T1" fmla="*/ 199490 h 380"/>
              <a:gd name="T2" fmla="*/ 5963 w 246"/>
              <a:gd name="T3" fmla="*/ 194715 h 380"/>
              <a:gd name="T4" fmla="*/ 6389 w 246"/>
              <a:gd name="T5" fmla="*/ 190470 h 380"/>
              <a:gd name="T6" fmla="*/ 7666 w 246"/>
              <a:gd name="T7" fmla="*/ 186226 h 380"/>
              <a:gd name="T8" fmla="*/ 8518 w 246"/>
              <a:gd name="T9" fmla="*/ 182512 h 380"/>
              <a:gd name="T10" fmla="*/ 10648 w 246"/>
              <a:gd name="T11" fmla="*/ 176676 h 380"/>
              <a:gd name="T12" fmla="*/ 11074 w 246"/>
              <a:gd name="T13" fmla="*/ 173492 h 380"/>
              <a:gd name="T14" fmla="*/ 10648 w 246"/>
              <a:gd name="T15" fmla="*/ 170309 h 380"/>
              <a:gd name="T16" fmla="*/ 9796 w 246"/>
              <a:gd name="T17" fmla="*/ 166595 h 380"/>
              <a:gd name="T18" fmla="*/ 8092 w 246"/>
              <a:gd name="T19" fmla="*/ 161820 h 380"/>
              <a:gd name="T20" fmla="*/ 5537 w 246"/>
              <a:gd name="T21" fmla="*/ 156515 h 380"/>
              <a:gd name="T22" fmla="*/ 3833 w 246"/>
              <a:gd name="T23" fmla="*/ 151209 h 380"/>
              <a:gd name="T24" fmla="*/ 1704 w 246"/>
              <a:gd name="T25" fmla="*/ 145903 h 380"/>
              <a:gd name="T26" fmla="*/ 426 w 246"/>
              <a:gd name="T27" fmla="*/ 141659 h 380"/>
              <a:gd name="T28" fmla="*/ 0 w 246"/>
              <a:gd name="T29" fmla="*/ 137414 h 380"/>
              <a:gd name="T30" fmla="*/ 426 w 246"/>
              <a:gd name="T31" fmla="*/ 133170 h 380"/>
              <a:gd name="T32" fmla="*/ 852 w 246"/>
              <a:gd name="T33" fmla="*/ 128926 h 380"/>
              <a:gd name="T34" fmla="*/ 1278 w 246"/>
              <a:gd name="T35" fmla="*/ 125212 h 380"/>
              <a:gd name="T36" fmla="*/ 2555 w 246"/>
              <a:gd name="T37" fmla="*/ 122028 h 380"/>
              <a:gd name="T38" fmla="*/ 4685 w 246"/>
              <a:gd name="T39" fmla="*/ 115662 h 380"/>
              <a:gd name="T40" fmla="*/ 8092 w 246"/>
              <a:gd name="T41" fmla="*/ 109825 h 380"/>
              <a:gd name="T42" fmla="*/ 11074 w 246"/>
              <a:gd name="T43" fmla="*/ 104520 h 380"/>
              <a:gd name="T44" fmla="*/ 14481 w 246"/>
              <a:gd name="T45" fmla="*/ 98153 h 380"/>
              <a:gd name="T46" fmla="*/ 17463 w 246"/>
              <a:gd name="T47" fmla="*/ 91787 h 380"/>
              <a:gd name="T48" fmla="*/ 20018 w 246"/>
              <a:gd name="T49" fmla="*/ 84889 h 380"/>
              <a:gd name="T50" fmla="*/ 11074 w 246"/>
              <a:gd name="T51" fmla="*/ 38731 h 380"/>
              <a:gd name="T52" fmla="*/ 11074 w 246"/>
              <a:gd name="T53" fmla="*/ 26528 h 380"/>
              <a:gd name="T54" fmla="*/ 10222 w 246"/>
              <a:gd name="T55" fmla="*/ 17508 h 380"/>
              <a:gd name="T56" fmla="*/ 10222 w 246"/>
              <a:gd name="T57" fmla="*/ 13264 h 380"/>
              <a:gd name="T58" fmla="*/ 10222 w 246"/>
              <a:gd name="T59" fmla="*/ 8489 h 380"/>
              <a:gd name="T60" fmla="*/ 10648 w 246"/>
              <a:gd name="T61" fmla="*/ 4244 h 380"/>
              <a:gd name="T62" fmla="*/ 11074 w 246"/>
              <a:gd name="T63" fmla="*/ 0 h 380"/>
              <a:gd name="T64" fmla="*/ 76665 w 246"/>
              <a:gd name="T65" fmla="*/ 0 h 380"/>
              <a:gd name="T66" fmla="*/ 93701 w 246"/>
              <a:gd name="T67" fmla="*/ 68442 h 380"/>
              <a:gd name="T68" fmla="*/ 93701 w 246"/>
              <a:gd name="T69" fmla="*/ 111417 h 380"/>
              <a:gd name="T70" fmla="*/ 93701 w 246"/>
              <a:gd name="T71" fmla="*/ 116723 h 380"/>
              <a:gd name="T72" fmla="*/ 94127 w 246"/>
              <a:gd name="T73" fmla="*/ 122028 h 380"/>
              <a:gd name="T74" fmla="*/ 94979 w 246"/>
              <a:gd name="T75" fmla="*/ 127334 h 380"/>
              <a:gd name="T76" fmla="*/ 95831 w 246"/>
              <a:gd name="T77" fmla="*/ 132639 h 380"/>
              <a:gd name="T78" fmla="*/ 97109 w 246"/>
              <a:gd name="T79" fmla="*/ 137414 h 380"/>
              <a:gd name="T80" fmla="*/ 99664 w 246"/>
              <a:gd name="T81" fmla="*/ 142190 h 380"/>
              <a:gd name="T82" fmla="*/ 101794 w 246"/>
              <a:gd name="T83" fmla="*/ 147495 h 380"/>
              <a:gd name="T84" fmla="*/ 104775 w 246"/>
              <a:gd name="T85" fmla="*/ 153331 h 380"/>
              <a:gd name="T86" fmla="*/ 95405 w 246"/>
              <a:gd name="T87" fmla="*/ 156515 h 380"/>
              <a:gd name="T88" fmla="*/ 86035 w 246"/>
              <a:gd name="T89" fmla="*/ 160228 h 380"/>
              <a:gd name="T90" fmla="*/ 77091 w 246"/>
              <a:gd name="T91" fmla="*/ 164473 h 380"/>
              <a:gd name="T92" fmla="*/ 68146 w 246"/>
              <a:gd name="T93" fmla="*/ 169248 h 380"/>
              <a:gd name="T94" fmla="*/ 60054 w 246"/>
              <a:gd name="T95" fmla="*/ 174023 h 380"/>
              <a:gd name="T96" fmla="*/ 51110 w 246"/>
              <a:gd name="T97" fmla="*/ 179329 h 380"/>
              <a:gd name="T98" fmla="*/ 42591 w 246"/>
              <a:gd name="T99" fmla="*/ 184104 h 380"/>
              <a:gd name="T100" fmla="*/ 34073 w 246"/>
              <a:gd name="T101" fmla="*/ 189940 h 380"/>
              <a:gd name="T102" fmla="*/ 31944 w 246"/>
              <a:gd name="T103" fmla="*/ 192593 h 380"/>
              <a:gd name="T104" fmla="*/ 29388 w 246"/>
              <a:gd name="T105" fmla="*/ 194715 h 380"/>
              <a:gd name="T106" fmla="*/ 26407 w 246"/>
              <a:gd name="T107" fmla="*/ 197368 h 380"/>
              <a:gd name="T108" fmla="*/ 22999 w 246"/>
              <a:gd name="T109" fmla="*/ 199490 h 380"/>
              <a:gd name="T110" fmla="*/ 19592 w 246"/>
              <a:gd name="T111" fmla="*/ 201081 h 380"/>
              <a:gd name="T112" fmla="*/ 15333 w 246"/>
              <a:gd name="T113" fmla="*/ 201612 h 380"/>
              <a:gd name="T114" fmla="*/ 13203 w 246"/>
              <a:gd name="T115" fmla="*/ 201612 h 380"/>
              <a:gd name="T116" fmla="*/ 10648 w 246"/>
              <a:gd name="T117" fmla="*/ 201081 h 380"/>
              <a:gd name="T118" fmla="*/ 8518 w 246"/>
              <a:gd name="T119" fmla="*/ 200551 h 380"/>
              <a:gd name="T120" fmla="*/ 5537 w 246"/>
              <a:gd name="T121" fmla="*/ 199490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3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3167 w 193"/>
              <a:gd name="T1" fmla="*/ 30915 h 38"/>
              <a:gd name="T2" fmla="*/ 17191 w 193"/>
              <a:gd name="T3" fmla="*/ 17003 h 38"/>
              <a:gd name="T4" fmla="*/ 30311 w 193"/>
              <a:gd name="T5" fmla="*/ 7729 h 38"/>
              <a:gd name="T6" fmla="*/ 36192 w 193"/>
              <a:gd name="T7" fmla="*/ 4637 h 38"/>
              <a:gd name="T8" fmla="*/ 42526 w 193"/>
              <a:gd name="T9" fmla="*/ 3091 h 38"/>
              <a:gd name="T10" fmla="*/ 49764 w 193"/>
              <a:gd name="T11" fmla="*/ 1546 h 38"/>
              <a:gd name="T12" fmla="*/ 57002 w 193"/>
              <a:gd name="T13" fmla="*/ 0 h 38"/>
              <a:gd name="T14" fmla="*/ 62431 w 193"/>
              <a:gd name="T15" fmla="*/ 1546 h 38"/>
              <a:gd name="T16" fmla="*/ 67407 w 193"/>
              <a:gd name="T17" fmla="*/ 1546 h 38"/>
              <a:gd name="T18" fmla="*/ 72384 w 193"/>
              <a:gd name="T19" fmla="*/ 3091 h 38"/>
              <a:gd name="T20" fmla="*/ 76455 w 193"/>
              <a:gd name="T21" fmla="*/ 6183 h 38"/>
              <a:gd name="T22" fmla="*/ 80527 w 193"/>
              <a:gd name="T23" fmla="*/ 9274 h 38"/>
              <a:gd name="T24" fmla="*/ 83241 w 193"/>
              <a:gd name="T25" fmla="*/ 17003 h 38"/>
              <a:gd name="T26" fmla="*/ 84599 w 193"/>
              <a:gd name="T27" fmla="*/ 20095 h 38"/>
              <a:gd name="T28" fmla="*/ 85503 w 193"/>
              <a:gd name="T29" fmla="*/ 27823 h 38"/>
              <a:gd name="T30" fmla="*/ 86408 w 193"/>
              <a:gd name="T31" fmla="*/ 32460 h 38"/>
              <a:gd name="T32" fmla="*/ 87313 w 193"/>
              <a:gd name="T33" fmla="*/ 40189 h 38"/>
              <a:gd name="T34" fmla="*/ 82789 w 193"/>
              <a:gd name="T35" fmla="*/ 41735 h 38"/>
              <a:gd name="T36" fmla="*/ 78265 w 193"/>
              <a:gd name="T37" fmla="*/ 43281 h 38"/>
              <a:gd name="T38" fmla="*/ 74646 w 193"/>
              <a:gd name="T39" fmla="*/ 43281 h 38"/>
              <a:gd name="T40" fmla="*/ 70574 w 193"/>
              <a:gd name="T41" fmla="*/ 43281 h 38"/>
              <a:gd name="T42" fmla="*/ 62431 w 193"/>
              <a:gd name="T43" fmla="*/ 41735 h 38"/>
              <a:gd name="T44" fmla="*/ 54288 w 193"/>
              <a:gd name="T45" fmla="*/ 40189 h 38"/>
              <a:gd name="T46" fmla="*/ 46597 w 193"/>
              <a:gd name="T47" fmla="*/ 40189 h 38"/>
              <a:gd name="T48" fmla="*/ 40264 w 193"/>
              <a:gd name="T49" fmla="*/ 43281 h 38"/>
              <a:gd name="T50" fmla="*/ 34382 w 193"/>
              <a:gd name="T51" fmla="*/ 46372 h 38"/>
              <a:gd name="T52" fmla="*/ 28501 w 193"/>
              <a:gd name="T53" fmla="*/ 49464 h 38"/>
              <a:gd name="T54" fmla="*/ 22168 w 193"/>
              <a:gd name="T55" fmla="*/ 52555 h 38"/>
              <a:gd name="T56" fmla="*/ 15834 w 193"/>
              <a:gd name="T57" fmla="*/ 55647 h 38"/>
              <a:gd name="T58" fmla="*/ 8596 w 193"/>
              <a:gd name="T59" fmla="*/ 57192 h 38"/>
              <a:gd name="T60" fmla="*/ 0 w 193"/>
              <a:gd name="T61" fmla="*/ 58738 h 38"/>
              <a:gd name="T62" fmla="*/ 0 w 193"/>
              <a:gd name="T63" fmla="*/ 51009 h 38"/>
              <a:gd name="T64" fmla="*/ 452 w 193"/>
              <a:gd name="T65" fmla="*/ 44826 h 38"/>
              <a:gd name="T66" fmla="*/ 1357 w 193"/>
              <a:gd name="T67" fmla="*/ 37098 h 38"/>
              <a:gd name="T68" fmla="*/ 3167 w 193"/>
              <a:gd name="T69" fmla="*/ 30915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4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22947 w 99"/>
              <a:gd name="T1" fmla="*/ 6202 h 301"/>
              <a:gd name="T2" fmla="*/ 25545 w 99"/>
              <a:gd name="T3" fmla="*/ 6202 h 301"/>
              <a:gd name="T4" fmla="*/ 25545 w 99"/>
              <a:gd name="T5" fmla="*/ 9820 h 301"/>
              <a:gd name="T6" fmla="*/ 26843 w 99"/>
              <a:gd name="T7" fmla="*/ 13438 h 301"/>
              <a:gd name="T8" fmla="*/ 27276 w 99"/>
              <a:gd name="T9" fmla="*/ 17056 h 301"/>
              <a:gd name="T10" fmla="*/ 28575 w 99"/>
              <a:gd name="T11" fmla="*/ 21708 h 301"/>
              <a:gd name="T12" fmla="*/ 31173 w 99"/>
              <a:gd name="T13" fmla="*/ 29978 h 301"/>
              <a:gd name="T14" fmla="*/ 34204 w 99"/>
              <a:gd name="T15" fmla="*/ 38765 h 301"/>
              <a:gd name="T16" fmla="*/ 37667 w 99"/>
              <a:gd name="T17" fmla="*/ 48068 h 301"/>
              <a:gd name="T18" fmla="*/ 40265 w 99"/>
              <a:gd name="T19" fmla="*/ 57372 h 301"/>
              <a:gd name="T20" fmla="*/ 41564 w 99"/>
              <a:gd name="T21" fmla="*/ 62023 h 301"/>
              <a:gd name="T22" fmla="*/ 42430 w 99"/>
              <a:gd name="T23" fmla="*/ 66675 h 301"/>
              <a:gd name="T24" fmla="*/ 42863 w 99"/>
              <a:gd name="T25" fmla="*/ 71327 h 301"/>
              <a:gd name="T26" fmla="*/ 42863 w 99"/>
              <a:gd name="T27" fmla="*/ 76495 h 301"/>
              <a:gd name="T28" fmla="*/ 42863 w 99"/>
              <a:gd name="T29" fmla="*/ 149373 h 301"/>
              <a:gd name="T30" fmla="*/ 38533 w 99"/>
              <a:gd name="T31" fmla="*/ 149890 h 301"/>
              <a:gd name="T32" fmla="*/ 34637 w 99"/>
              <a:gd name="T33" fmla="*/ 151440 h 301"/>
              <a:gd name="T34" fmla="*/ 31606 w 99"/>
              <a:gd name="T35" fmla="*/ 153508 h 301"/>
              <a:gd name="T36" fmla="*/ 28575 w 99"/>
              <a:gd name="T37" fmla="*/ 155575 h 301"/>
              <a:gd name="T38" fmla="*/ 25545 w 99"/>
              <a:gd name="T39" fmla="*/ 149890 h 301"/>
              <a:gd name="T40" fmla="*/ 23380 w 99"/>
              <a:gd name="T41" fmla="*/ 144721 h 301"/>
              <a:gd name="T42" fmla="*/ 20782 w 99"/>
              <a:gd name="T43" fmla="*/ 140069 h 301"/>
              <a:gd name="T44" fmla="*/ 19483 w 99"/>
              <a:gd name="T45" fmla="*/ 135417 h 301"/>
              <a:gd name="T46" fmla="*/ 18617 w 99"/>
              <a:gd name="T47" fmla="*/ 130249 h 301"/>
              <a:gd name="T48" fmla="*/ 17751 w 99"/>
              <a:gd name="T49" fmla="*/ 125080 h 301"/>
              <a:gd name="T50" fmla="*/ 17318 w 99"/>
              <a:gd name="T51" fmla="*/ 119912 h 301"/>
              <a:gd name="T52" fmla="*/ 17318 w 99"/>
              <a:gd name="T53" fmla="*/ 114743 h 301"/>
              <a:gd name="T54" fmla="*/ 17318 w 99"/>
              <a:gd name="T55" fmla="*/ 72877 h 301"/>
              <a:gd name="T56" fmla="*/ 0 w 99"/>
              <a:gd name="T57" fmla="*/ 3101 h 301"/>
              <a:gd name="T58" fmla="*/ 2165 w 99"/>
              <a:gd name="T59" fmla="*/ 1034 h 301"/>
              <a:gd name="T60" fmla="*/ 4330 w 99"/>
              <a:gd name="T61" fmla="*/ 0 h 301"/>
              <a:gd name="T62" fmla="*/ 6061 w 99"/>
              <a:gd name="T63" fmla="*/ 0 h 301"/>
              <a:gd name="T64" fmla="*/ 8659 w 99"/>
              <a:gd name="T65" fmla="*/ 0 h 301"/>
              <a:gd name="T66" fmla="*/ 11257 w 99"/>
              <a:gd name="T67" fmla="*/ 0 h 301"/>
              <a:gd name="T68" fmla="*/ 13855 w 99"/>
              <a:gd name="T69" fmla="*/ 1034 h 301"/>
              <a:gd name="T70" fmla="*/ 16020 w 99"/>
              <a:gd name="T71" fmla="*/ 2067 h 301"/>
              <a:gd name="T72" fmla="*/ 17751 w 99"/>
              <a:gd name="T73" fmla="*/ 3101 h 301"/>
              <a:gd name="T74" fmla="*/ 20349 w 99"/>
              <a:gd name="T75" fmla="*/ 5169 h 301"/>
              <a:gd name="T76" fmla="*/ 22947 w 99"/>
              <a:gd name="T77" fmla="*/ 6202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5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42333 h 357"/>
              <a:gd name="T2" fmla="*/ 3964 w 173"/>
              <a:gd name="T3" fmla="*/ 38100 h 357"/>
              <a:gd name="T4" fmla="*/ 7488 w 173"/>
              <a:gd name="T5" fmla="*/ 34396 h 357"/>
              <a:gd name="T6" fmla="*/ 11012 w 173"/>
              <a:gd name="T7" fmla="*/ 31750 h 357"/>
              <a:gd name="T8" fmla="*/ 14535 w 173"/>
              <a:gd name="T9" fmla="*/ 29633 h 357"/>
              <a:gd name="T10" fmla="*/ 17618 w 173"/>
              <a:gd name="T11" fmla="*/ 26458 h 357"/>
              <a:gd name="T12" fmla="*/ 29511 w 173"/>
              <a:gd name="T13" fmla="*/ 26458 h 357"/>
              <a:gd name="T14" fmla="*/ 41403 w 173"/>
              <a:gd name="T15" fmla="*/ 0 h 357"/>
              <a:gd name="T16" fmla="*/ 44487 w 173"/>
              <a:gd name="T17" fmla="*/ 1587 h 357"/>
              <a:gd name="T18" fmla="*/ 47570 w 173"/>
              <a:gd name="T19" fmla="*/ 3704 h 357"/>
              <a:gd name="T20" fmla="*/ 51094 w 173"/>
              <a:gd name="T21" fmla="*/ 6350 h 357"/>
              <a:gd name="T22" fmla="*/ 54177 w 173"/>
              <a:gd name="T23" fmla="*/ 9525 h 357"/>
              <a:gd name="T24" fmla="*/ 57701 w 173"/>
              <a:gd name="T25" fmla="*/ 11642 h 357"/>
              <a:gd name="T26" fmla="*/ 61224 w 173"/>
              <a:gd name="T27" fmla="*/ 14287 h 357"/>
              <a:gd name="T28" fmla="*/ 63867 w 173"/>
              <a:gd name="T29" fmla="*/ 15346 h 357"/>
              <a:gd name="T30" fmla="*/ 67391 w 173"/>
              <a:gd name="T31" fmla="*/ 15875 h 357"/>
              <a:gd name="T32" fmla="*/ 71795 w 173"/>
              <a:gd name="T33" fmla="*/ 20637 h 357"/>
              <a:gd name="T34" fmla="*/ 76200 w 173"/>
              <a:gd name="T35" fmla="*/ 26458 h 357"/>
              <a:gd name="T36" fmla="*/ 76200 w 173"/>
              <a:gd name="T37" fmla="*/ 32279 h 357"/>
              <a:gd name="T38" fmla="*/ 76200 w 173"/>
              <a:gd name="T39" fmla="*/ 36512 h 357"/>
              <a:gd name="T40" fmla="*/ 76200 w 173"/>
              <a:gd name="T41" fmla="*/ 42333 h 357"/>
              <a:gd name="T42" fmla="*/ 76200 w 173"/>
              <a:gd name="T43" fmla="*/ 51858 h 357"/>
              <a:gd name="T44" fmla="*/ 76200 w 173"/>
              <a:gd name="T45" fmla="*/ 57679 h 357"/>
              <a:gd name="T46" fmla="*/ 75319 w 173"/>
              <a:gd name="T47" fmla="*/ 62442 h 357"/>
              <a:gd name="T48" fmla="*/ 73557 w 173"/>
              <a:gd name="T49" fmla="*/ 67204 h 357"/>
              <a:gd name="T50" fmla="*/ 71795 w 173"/>
              <a:gd name="T51" fmla="*/ 71437 h 357"/>
              <a:gd name="T52" fmla="*/ 66950 w 173"/>
              <a:gd name="T53" fmla="*/ 79904 h 357"/>
              <a:gd name="T54" fmla="*/ 61665 w 173"/>
              <a:gd name="T55" fmla="*/ 88371 h 357"/>
              <a:gd name="T56" fmla="*/ 56379 w 173"/>
              <a:gd name="T57" fmla="*/ 96837 h 357"/>
              <a:gd name="T58" fmla="*/ 51534 w 173"/>
              <a:gd name="T59" fmla="*/ 105833 h 357"/>
              <a:gd name="T60" fmla="*/ 49332 w 173"/>
              <a:gd name="T61" fmla="*/ 110596 h 357"/>
              <a:gd name="T62" fmla="*/ 48010 w 173"/>
              <a:gd name="T63" fmla="*/ 115887 h 357"/>
              <a:gd name="T64" fmla="*/ 47570 w 173"/>
              <a:gd name="T65" fmla="*/ 121179 h 357"/>
              <a:gd name="T66" fmla="*/ 47129 w 173"/>
              <a:gd name="T67" fmla="*/ 127000 h 357"/>
              <a:gd name="T68" fmla="*/ 47570 w 173"/>
              <a:gd name="T69" fmla="*/ 144462 h 357"/>
              <a:gd name="T70" fmla="*/ 48010 w 173"/>
              <a:gd name="T71" fmla="*/ 155045 h 357"/>
              <a:gd name="T72" fmla="*/ 48451 w 173"/>
              <a:gd name="T73" fmla="*/ 159808 h 357"/>
              <a:gd name="T74" fmla="*/ 48010 w 173"/>
              <a:gd name="T75" fmla="*/ 165629 h 357"/>
              <a:gd name="T76" fmla="*/ 48010 w 173"/>
              <a:gd name="T77" fmla="*/ 173037 h 357"/>
              <a:gd name="T78" fmla="*/ 47129 w 173"/>
              <a:gd name="T79" fmla="*/ 182562 h 357"/>
              <a:gd name="T80" fmla="*/ 42725 w 173"/>
              <a:gd name="T81" fmla="*/ 183091 h 357"/>
              <a:gd name="T82" fmla="*/ 38761 w 173"/>
              <a:gd name="T83" fmla="*/ 183620 h 357"/>
              <a:gd name="T84" fmla="*/ 34797 w 173"/>
              <a:gd name="T85" fmla="*/ 184679 h 357"/>
              <a:gd name="T86" fmla="*/ 31273 w 173"/>
              <a:gd name="T87" fmla="*/ 185737 h 357"/>
              <a:gd name="T88" fmla="*/ 27749 w 173"/>
              <a:gd name="T89" fmla="*/ 186795 h 357"/>
              <a:gd name="T90" fmla="*/ 24225 w 173"/>
              <a:gd name="T91" fmla="*/ 187854 h 357"/>
              <a:gd name="T92" fmla="*/ 21142 w 173"/>
              <a:gd name="T93" fmla="*/ 188912 h 357"/>
              <a:gd name="T94" fmla="*/ 17618 w 173"/>
              <a:gd name="T95" fmla="*/ 188912 h 357"/>
              <a:gd name="T96" fmla="*/ 17618 w 173"/>
              <a:gd name="T97" fmla="*/ 114300 h 357"/>
              <a:gd name="T98" fmla="*/ 17618 w 173"/>
              <a:gd name="T99" fmla="*/ 109008 h 357"/>
              <a:gd name="T100" fmla="*/ 17178 w 173"/>
              <a:gd name="T101" fmla="*/ 104246 h 357"/>
              <a:gd name="T102" fmla="*/ 16297 w 173"/>
              <a:gd name="T103" fmla="*/ 99483 h 357"/>
              <a:gd name="T104" fmla="*/ 14976 w 173"/>
              <a:gd name="T105" fmla="*/ 94721 h 357"/>
              <a:gd name="T106" fmla="*/ 12333 w 173"/>
              <a:gd name="T107" fmla="*/ 85196 h 357"/>
              <a:gd name="T108" fmla="*/ 8809 w 173"/>
              <a:gd name="T109" fmla="*/ 75671 h 357"/>
              <a:gd name="T110" fmla="*/ 5726 w 173"/>
              <a:gd name="T111" fmla="*/ 66675 h 357"/>
              <a:gd name="T112" fmla="*/ 3083 w 173"/>
              <a:gd name="T113" fmla="*/ 58208 h 357"/>
              <a:gd name="T114" fmla="*/ 1762 w 173"/>
              <a:gd name="T115" fmla="*/ 53446 h 357"/>
              <a:gd name="T116" fmla="*/ 1321 w 173"/>
              <a:gd name="T117" fmla="*/ 49742 h 357"/>
              <a:gd name="T118" fmla="*/ 0 w 173"/>
              <a:gd name="T119" fmla="*/ 46037 h 357"/>
              <a:gd name="T120" fmla="*/ 0 w 173"/>
              <a:gd name="T121" fmla="*/ 42333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6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5080 w 50"/>
              <a:gd name="T1" fmla="*/ 0 h 74"/>
              <a:gd name="T2" fmla="*/ 3048 w 50"/>
              <a:gd name="T3" fmla="*/ 11413 h 74"/>
              <a:gd name="T4" fmla="*/ 1016 w 50"/>
              <a:gd name="T5" fmla="*/ 21195 h 74"/>
              <a:gd name="T6" fmla="*/ 0 w 50"/>
              <a:gd name="T7" fmla="*/ 29347 h 74"/>
              <a:gd name="T8" fmla="*/ 0 w 50"/>
              <a:gd name="T9" fmla="*/ 35054 h 74"/>
              <a:gd name="T10" fmla="*/ 0 w 50"/>
              <a:gd name="T11" fmla="*/ 40760 h 74"/>
              <a:gd name="T12" fmla="*/ 1016 w 50"/>
              <a:gd name="T13" fmla="*/ 45651 h 74"/>
              <a:gd name="T14" fmla="*/ 3048 w 50"/>
              <a:gd name="T15" fmla="*/ 49727 h 74"/>
              <a:gd name="T16" fmla="*/ 5080 w 50"/>
              <a:gd name="T17" fmla="*/ 55434 h 74"/>
              <a:gd name="T18" fmla="*/ 25400 w 50"/>
              <a:gd name="T19" fmla="*/ 60325 h 74"/>
              <a:gd name="T20" fmla="*/ 25400 w 50"/>
              <a:gd name="T21" fmla="*/ 41575 h 74"/>
              <a:gd name="T22" fmla="*/ 25400 w 50"/>
              <a:gd name="T23" fmla="*/ 27717 h 74"/>
              <a:gd name="T24" fmla="*/ 25400 w 50"/>
              <a:gd name="T25" fmla="*/ 15489 h 74"/>
              <a:gd name="T26" fmla="*/ 25400 w 50"/>
              <a:gd name="T27" fmla="*/ 0 h 74"/>
              <a:gd name="T28" fmla="*/ 19304 w 50"/>
              <a:gd name="T29" fmla="*/ 0 h 74"/>
              <a:gd name="T30" fmla="*/ 12700 w 50"/>
              <a:gd name="T31" fmla="*/ 0 h 74"/>
              <a:gd name="T32" fmla="*/ 7112 w 50"/>
              <a:gd name="T33" fmla="*/ 0 h 74"/>
              <a:gd name="T34" fmla="*/ 5080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7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8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108857 w 266"/>
              <a:gd name="T1" fmla="*/ 4733 h 326"/>
              <a:gd name="T2" fmla="*/ 108857 w 266"/>
              <a:gd name="T3" fmla="*/ 14726 h 326"/>
              <a:gd name="T4" fmla="*/ 112939 w 266"/>
              <a:gd name="T5" fmla="*/ 22089 h 326"/>
              <a:gd name="T6" fmla="*/ 111125 w 266"/>
              <a:gd name="T7" fmla="*/ 28926 h 326"/>
              <a:gd name="T8" fmla="*/ 102054 w 266"/>
              <a:gd name="T9" fmla="*/ 26296 h 326"/>
              <a:gd name="T10" fmla="*/ 95250 w 266"/>
              <a:gd name="T11" fmla="*/ 26822 h 326"/>
              <a:gd name="T12" fmla="*/ 88446 w 266"/>
              <a:gd name="T13" fmla="*/ 34185 h 326"/>
              <a:gd name="T14" fmla="*/ 87539 w 266"/>
              <a:gd name="T15" fmla="*/ 41022 h 326"/>
              <a:gd name="T16" fmla="*/ 89807 w 266"/>
              <a:gd name="T17" fmla="*/ 46807 h 326"/>
              <a:gd name="T18" fmla="*/ 97518 w 266"/>
              <a:gd name="T19" fmla="*/ 57851 h 326"/>
              <a:gd name="T20" fmla="*/ 101600 w 266"/>
              <a:gd name="T21" fmla="*/ 64162 h 326"/>
              <a:gd name="T22" fmla="*/ 102054 w 266"/>
              <a:gd name="T23" fmla="*/ 69947 h 326"/>
              <a:gd name="T24" fmla="*/ 100693 w 266"/>
              <a:gd name="T25" fmla="*/ 75207 h 326"/>
              <a:gd name="T26" fmla="*/ 93889 w 266"/>
              <a:gd name="T27" fmla="*/ 80992 h 326"/>
              <a:gd name="T28" fmla="*/ 90714 w 266"/>
              <a:gd name="T29" fmla="*/ 84147 h 326"/>
              <a:gd name="T30" fmla="*/ 82096 w 266"/>
              <a:gd name="T31" fmla="*/ 87303 h 326"/>
              <a:gd name="T32" fmla="*/ 74386 w 266"/>
              <a:gd name="T33" fmla="*/ 93614 h 326"/>
              <a:gd name="T34" fmla="*/ 72571 w 266"/>
              <a:gd name="T35" fmla="*/ 100451 h 326"/>
              <a:gd name="T36" fmla="*/ 78468 w 266"/>
              <a:gd name="T37" fmla="*/ 108865 h 326"/>
              <a:gd name="T38" fmla="*/ 85725 w 266"/>
              <a:gd name="T39" fmla="*/ 113073 h 326"/>
              <a:gd name="T40" fmla="*/ 97064 w 266"/>
              <a:gd name="T41" fmla="*/ 119384 h 326"/>
              <a:gd name="T42" fmla="*/ 111125 w 266"/>
              <a:gd name="T43" fmla="*/ 136213 h 326"/>
              <a:gd name="T44" fmla="*/ 113846 w 266"/>
              <a:gd name="T45" fmla="*/ 149887 h 326"/>
              <a:gd name="T46" fmla="*/ 99786 w 266"/>
              <a:gd name="T47" fmla="*/ 153043 h 326"/>
              <a:gd name="T48" fmla="*/ 93889 w 266"/>
              <a:gd name="T49" fmla="*/ 156724 h 326"/>
              <a:gd name="T50" fmla="*/ 89807 w 266"/>
              <a:gd name="T51" fmla="*/ 164087 h 326"/>
              <a:gd name="T52" fmla="*/ 85725 w 266"/>
              <a:gd name="T53" fmla="*/ 171450 h 326"/>
              <a:gd name="T54" fmla="*/ 77107 w 266"/>
              <a:gd name="T55" fmla="*/ 168820 h 326"/>
              <a:gd name="T56" fmla="*/ 75746 w 266"/>
              <a:gd name="T57" fmla="*/ 166191 h 326"/>
              <a:gd name="T58" fmla="*/ 69850 w 266"/>
              <a:gd name="T59" fmla="*/ 163035 h 326"/>
              <a:gd name="T60" fmla="*/ 63046 w 266"/>
              <a:gd name="T61" fmla="*/ 158302 h 326"/>
              <a:gd name="T62" fmla="*/ 57150 w 266"/>
              <a:gd name="T63" fmla="*/ 155146 h 326"/>
              <a:gd name="T64" fmla="*/ 44450 w 266"/>
              <a:gd name="T65" fmla="*/ 152517 h 326"/>
              <a:gd name="T66" fmla="*/ 28575 w 266"/>
              <a:gd name="T67" fmla="*/ 145680 h 326"/>
              <a:gd name="T68" fmla="*/ 24493 w 266"/>
              <a:gd name="T69" fmla="*/ 140947 h 326"/>
              <a:gd name="T70" fmla="*/ 24946 w 266"/>
              <a:gd name="T71" fmla="*/ 134636 h 326"/>
              <a:gd name="T72" fmla="*/ 31750 w 266"/>
              <a:gd name="T73" fmla="*/ 128325 h 326"/>
              <a:gd name="T74" fmla="*/ 26761 w 266"/>
              <a:gd name="T75" fmla="*/ 116228 h 326"/>
              <a:gd name="T76" fmla="*/ 15421 w 266"/>
              <a:gd name="T77" fmla="*/ 102029 h 326"/>
              <a:gd name="T78" fmla="*/ 5896 w 266"/>
              <a:gd name="T79" fmla="*/ 95717 h 326"/>
              <a:gd name="T80" fmla="*/ 1814 w 266"/>
              <a:gd name="T81" fmla="*/ 89932 h 326"/>
              <a:gd name="T82" fmla="*/ 8618 w 266"/>
              <a:gd name="T83" fmla="*/ 79940 h 326"/>
              <a:gd name="T84" fmla="*/ 24493 w 266"/>
              <a:gd name="T85" fmla="*/ 65214 h 326"/>
              <a:gd name="T86" fmla="*/ 33111 w 266"/>
              <a:gd name="T87" fmla="*/ 55222 h 326"/>
              <a:gd name="T88" fmla="*/ 39914 w 266"/>
              <a:gd name="T89" fmla="*/ 48385 h 326"/>
              <a:gd name="T90" fmla="*/ 49893 w 266"/>
              <a:gd name="T91" fmla="*/ 46281 h 326"/>
              <a:gd name="T92" fmla="*/ 65314 w 266"/>
              <a:gd name="T93" fmla="*/ 36814 h 326"/>
              <a:gd name="T94" fmla="*/ 76200 w 266"/>
              <a:gd name="T95" fmla="*/ 24192 h 326"/>
              <a:gd name="T96" fmla="*/ 86632 w 266"/>
              <a:gd name="T97" fmla="*/ 11044 h 326"/>
              <a:gd name="T98" fmla="*/ 99786 w 266"/>
              <a:gd name="T99" fmla="*/ 2104 h 326"/>
              <a:gd name="T100" fmla="*/ 107950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9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37682 w 471"/>
              <a:gd name="T1" fmla="*/ 0 h 237"/>
              <a:gd name="T2" fmla="*/ 40311 w 471"/>
              <a:gd name="T3" fmla="*/ 3657 h 237"/>
              <a:gd name="T4" fmla="*/ 44693 w 471"/>
              <a:gd name="T5" fmla="*/ 6792 h 237"/>
              <a:gd name="T6" fmla="*/ 54770 w 471"/>
              <a:gd name="T7" fmla="*/ 12017 h 237"/>
              <a:gd name="T8" fmla="*/ 69668 w 471"/>
              <a:gd name="T9" fmla="*/ 19331 h 237"/>
              <a:gd name="T10" fmla="*/ 97710 w 471"/>
              <a:gd name="T11" fmla="*/ 40230 h 237"/>
              <a:gd name="T12" fmla="*/ 110855 w 471"/>
              <a:gd name="T13" fmla="*/ 50679 h 237"/>
              <a:gd name="T14" fmla="*/ 124000 w 471"/>
              <a:gd name="T15" fmla="*/ 59039 h 237"/>
              <a:gd name="T16" fmla="*/ 138460 w 471"/>
              <a:gd name="T17" fmla="*/ 66353 h 237"/>
              <a:gd name="T18" fmla="*/ 155548 w 471"/>
              <a:gd name="T19" fmla="*/ 72623 h 237"/>
              <a:gd name="T20" fmla="*/ 174827 w 471"/>
              <a:gd name="T21" fmla="*/ 76280 h 237"/>
              <a:gd name="T22" fmla="*/ 197612 w 471"/>
              <a:gd name="T23" fmla="*/ 77325 h 237"/>
              <a:gd name="T24" fmla="*/ 198050 w 471"/>
              <a:gd name="T25" fmla="*/ 97702 h 237"/>
              <a:gd name="T26" fmla="*/ 201117 w 471"/>
              <a:gd name="T27" fmla="*/ 110241 h 237"/>
              <a:gd name="T28" fmla="*/ 204622 w 471"/>
              <a:gd name="T29" fmla="*/ 118600 h 237"/>
              <a:gd name="T30" fmla="*/ 204622 w 471"/>
              <a:gd name="T31" fmla="*/ 123303 h 237"/>
              <a:gd name="T32" fmla="*/ 197612 w 471"/>
              <a:gd name="T33" fmla="*/ 123303 h 237"/>
              <a:gd name="T34" fmla="*/ 182276 w 471"/>
              <a:gd name="T35" fmla="*/ 120690 h 237"/>
              <a:gd name="T36" fmla="*/ 158615 w 471"/>
              <a:gd name="T37" fmla="*/ 114421 h 237"/>
              <a:gd name="T38" fmla="*/ 138021 w 471"/>
              <a:gd name="T39" fmla="*/ 108151 h 237"/>
              <a:gd name="T40" fmla="*/ 128820 w 471"/>
              <a:gd name="T41" fmla="*/ 106061 h 237"/>
              <a:gd name="T42" fmla="*/ 125753 w 471"/>
              <a:gd name="T43" fmla="*/ 103971 h 237"/>
              <a:gd name="T44" fmla="*/ 121371 w 471"/>
              <a:gd name="T45" fmla="*/ 99269 h 237"/>
              <a:gd name="T46" fmla="*/ 116990 w 471"/>
              <a:gd name="T47" fmla="*/ 92999 h 237"/>
              <a:gd name="T48" fmla="*/ 111732 w 471"/>
              <a:gd name="T49" fmla="*/ 86730 h 237"/>
              <a:gd name="T50" fmla="*/ 105159 w 471"/>
              <a:gd name="T51" fmla="*/ 83072 h 237"/>
              <a:gd name="T52" fmla="*/ 99463 w 471"/>
              <a:gd name="T53" fmla="*/ 83072 h 237"/>
              <a:gd name="T54" fmla="*/ 89824 w 471"/>
              <a:gd name="T55" fmla="*/ 85162 h 237"/>
              <a:gd name="T56" fmla="*/ 80184 w 471"/>
              <a:gd name="T57" fmla="*/ 87252 h 237"/>
              <a:gd name="T58" fmla="*/ 74050 w 471"/>
              <a:gd name="T59" fmla="*/ 87775 h 237"/>
              <a:gd name="T60" fmla="*/ 69230 w 471"/>
              <a:gd name="T61" fmla="*/ 85685 h 237"/>
              <a:gd name="T62" fmla="*/ 64848 w 471"/>
              <a:gd name="T63" fmla="*/ 80983 h 237"/>
              <a:gd name="T64" fmla="*/ 60905 w 471"/>
              <a:gd name="T65" fmla="*/ 77325 h 237"/>
              <a:gd name="T66" fmla="*/ 53456 w 471"/>
              <a:gd name="T67" fmla="*/ 75758 h 237"/>
              <a:gd name="T68" fmla="*/ 40311 w 471"/>
              <a:gd name="T69" fmla="*/ 70533 h 237"/>
              <a:gd name="T70" fmla="*/ 21032 w 471"/>
              <a:gd name="T71" fmla="*/ 61129 h 237"/>
              <a:gd name="T72" fmla="*/ 5258 w 471"/>
              <a:gd name="T73" fmla="*/ 50157 h 237"/>
              <a:gd name="T74" fmla="*/ 306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0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73025 w 167"/>
              <a:gd name="T1" fmla="*/ 22754 h 123"/>
              <a:gd name="T2" fmla="*/ 71713 w 167"/>
              <a:gd name="T3" fmla="*/ 28575 h 123"/>
              <a:gd name="T4" fmla="*/ 70401 w 167"/>
              <a:gd name="T5" fmla="*/ 34925 h 123"/>
              <a:gd name="T6" fmla="*/ 67778 w 167"/>
              <a:gd name="T7" fmla="*/ 41804 h 123"/>
              <a:gd name="T8" fmla="*/ 65591 w 167"/>
              <a:gd name="T9" fmla="*/ 49212 h 123"/>
              <a:gd name="T10" fmla="*/ 63842 w 167"/>
              <a:gd name="T11" fmla="*/ 52387 h 123"/>
              <a:gd name="T12" fmla="*/ 62093 w 167"/>
              <a:gd name="T13" fmla="*/ 55562 h 123"/>
              <a:gd name="T14" fmla="*/ 60344 w 167"/>
              <a:gd name="T15" fmla="*/ 58208 h 123"/>
              <a:gd name="T16" fmla="*/ 57720 w 167"/>
              <a:gd name="T17" fmla="*/ 60325 h 123"/>
              <a:gd name="T18" fmla="*/ 55534 w 167"/>
              <a:gd name="T19" fmla="*/ 62441 h 123"/>
              <a:gd name="T20" fmla="*/ 52910 w 167"/>
              <a:gd name="T21" fmla="*/ 64029 h 123"/>
              <a:gd name="T22" fmla="*/ 50287 w 167"/>
              <a:gd name="T23" fmla="*/ 64558 h 123"/>
              <a:gd name="T24" fmla="*/ 46788 w 167"/>
              <a:gd name="T25" fmla="*/ 65087 h 123"/>
              <a:gd name="T26" fmla="*/ 43728 w 167"/>
              <a:gd name="T27" fmla="*/ 64558 h 123"/>
              <a:gd name="T28" fmla="*/ 40229 w 167"/>
              <a:gd name="T29" fmla="*/ 62970 h 123"/>
              <a:gd name="T30" fmla="*/ 38043 w 167"/>
              <a:gd name="T31" fmla="*/ 61383 h 123"/>
              <a:gd name="T32" fmla="*/ 36731 w 167"/>
              <a:gd name="T33" fmla="*/ 59795 h 123"/>
              <a:gd name="T34" fmla="*/ 35857 w 167"/>
              <a:gd name="T35" fmla="*/ 57679 h 123"/>
              <a:gd name="T36" fmla="*/ 35419 w 167"/>
              <a:gd name="T37" fmla="*/ 55562 h 123"/>
              <a:gd name="T38" fmla="*/ 31047 w 167"/>
              <a:gd name="T39" fmla="*/ 55033 h 123"/>
              <a:gd name="T40" fmla="*/ 26674 w 167"/>
              <a:gd name="T41" fmla="*/ 54504 h 123"/>
              <a:gd name="T42" fmla="*/ 22301 w 167"/>
              <a:gd name="T43" fmla="*/ 53445 h 123"/>
              <a:gd name="T44" fmla="*/ 17928 w 167"/>
              <a:gd name="T45" fmla="*/ 51858 h 123"/>
              <a:gd name="T46" fmla="*/ 9183 w 167"/>
              <a:gd name="T47" fmla="*/ 48683 h 123"/>
              <a:gd name="T48" fmla="*/ 0 w 167"/>
              <a:gd name="T49" fmla="*/ 45508 h 123"/>
              <a:gd name="T50" fmla="*/ 875 w 167"/>
              <a:gd name="T51" fmla="*/ 40746 h 123"/>
              <a:gd name="T52" fmla="*/ 2186 w 167"/>
              <a:gd name="T53" fmla="*/ 35454 h 123"/>
              <a:gd name="T54" fmla="*/ 3935 w 167"/>
              <a:gd name="T55" fmla="*/ 29633 h 123"/>
              <a:gd name="T56" fmla="*/ 6559 w 167"/>
              <a:gd name="T57" fmla="*/ 22754 h 123"/>
              <a:gd name="T58" fmla="*/ 8746 w 167"/>
              <a:gd name="T59" fmla="*/ 22754 h 123"/>
              <a:gd name="T60" fmla="*/ 11369 w 167"/>
              <a:gd name="T61" fmla="*/ 22225 h 123"/>
              <a:gd name="T62" fmla="*/ 13118 w 167"/>
              <a:gd name="T63" fmla="*/ 21696 h 123"/>
              <a:gd name="T64" fmla="*/ 14430 w 167"/>
              <a:gd name="T65" fmla="*/ 20108 h 123"/>
              <a:gd name="T66" fmla="*/ 17491 w 167"/>
              <a:gd name="T67" fmla="*/ 17462 h 123"/>
              <a:gd name="T68" fmla="*/ 19677 w 167"/>
              <a:gd name="T69" fmla="*/ 13758 h 123"/>
              <a:gd name="T70" fmla="*/ 22738 w 167"/>
              <a:gd name="T71" fmla="*/ 6350 h 123"/>
              <a:gd name="T72" fmla="*/ 26674 w 167"/>
              <a:gd name="T73" fmla="*/ 0 h 123"/>
              <a:gd name="T74" fmla="*/ 27986 w 167"/>
              <a:gd name="T75" fmla="*/ 2117 h 123"/>
              <a:gd name="T76" fmla="*/ 29297 w 167"/>
              <a:gd name="T77" fmla="*/ 3704 h 123"/>
              <a:gd name="T78" fmla="*/ 31921 w 167"/>
              <a:gd name="T79" fmla="*/ 5821 h 123"/>
              <a:gd name="T80" fmla="*/ 34107 w 167"/>
              <a:gd name="T81" fmla="*/ 7408 h 123"/>
              <a:gd name="T82" fmla="*/ 40229 w 167"/>
              <a:gd name="T83" fmla="*/ 11112 h 123"/>
              <a:gd name="T84" fmla="*/ 46788 w 167"/>
              <a:gd name="T85" fmla="*/ 14817 h 123"/>
              <a:gd name="T86" fmla="*/ 53348 w 167"/>
              <a:gd name="T87" fmla="*/ 18521 h 123"/>
              <a:gd name="T88" fmla="*/ 60781 w 167"/>
              <a:gd name="T89" fmla="*/ 20637 h 123"/>
              <a:gd name="T90" fmla="*/ 66903 w 167"/>
              <a:gd name="T91" fmla="*/ 22225 h 123"/>
              <a:gd name="T92" fmla="*/ 73025 w 167"/>
              <a:gd name="T93" fmla="*/ 22754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1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112868 w 306"/>
              <a:gd name="T1" fmla="*/ 83084 h 321"/>
              <a:gd name="T2" fmla="*/ 109818 w 306"/>
              <a:gd name="T3" fmla="*/ 89835 h 321"/>
              <a:gd name="T4" fmla="*/ 105896 w 306"/>
              <a:gd name="T5" fmla="*/ 94508 h 321"/>
              <a:gd name="T6" fmla="*/ 101538 w 306"/>
              <a:gd name="T7" fmla="*/ 96586 h 321"/>
              <a:gd name="T8" fmla="*/ 97180 w 306"/>
              <a:gd name="T9" fmla="*/ 95547 h 321"/>
              <a:gd name="T10" fmla="*/ 93258 w 306"/>
              <a:gd name="T11" fmla="*/ 92431 h 321"/>
              <a:gd name="T12" fmla="*/ 91079 w 306"/>
              <a:gd name="T13" fmla="*/ 87758 h 321"/>
              <a:gd name="T14" fmla="*/ 89772 w 306"/>
              <a:gd name="T15" fmla="*/ 83084 h 321"/>
              <a:gd name="T16" fmla="*/ 91079 w 306"/>
              <a:gd name="T17" fmla="*/ 76853 h 321"/>
              <a:gd name="T18" fmla="*/ 92822 w 306"/>
              <a:gd name="T19" fmla="*/ 70622 h 321"/>
              <a:gd name="T20" fmla="*/ 100230 w 306"/>
              <a:gd name="T21" fmla="*/ 59198 h 321"/>
              <a:gd name="T22" fmla="*/ 107203 w 306"/>
              <a:gd name="T23" fmla="*/ 48293 h 321"/>
              <a:gd name="T24" fmla="*/ 108946 w 306"/>
              <a:gd name="T25" fmla="*/ 42581 h 321"/>
              <a:gd name="T26" fmla="*/ 110253 w 306"/>
              <a:gd name="T27" fmla="*/ 35830 h 321"/>
              <a:gd name="T28" fmla="*/ 56216 w 306"/>
              <a:gd name="T29" fmla="*/ 35311 h 321"/>
              <a:gd name="T30" fmla="*/ 51858 w 306"/>
              <a:gd name="T31" fmla="*/ 30637 h 321"/>
              <a:gd name="T32" fmla="*/ 48808 w 306"/>
              <a:gd name="T33" fmla="*/ 23367 h 321"/>
              <a:gd name="T34" fmla="*/ 47065 w 306"/>
              <a:gd name="T35" fmla="*/ 14540 h 321"/>
              <a:gd name="T36" fmla="*/ 44014 w 306"/>
              <a:gd name="T37" fmla="*/ 9866 h 321"/>
              <a:gd name="T38" fmla="*/ 39221 w 306"/>
              <a:gd name="T39" fmla="*/ 8828 h 321"/>
              <a:gd name="T40" fmla="*/ 34863 w 306"/>
              <a:gd name="T41" fmla="*/ 6231 h 321"/>
              <a:gd name="T42" fmla="*/ 32684 w 306"/>
              <a:gd name="T43" fmla="*/ 2077 h 321"/>
              <a:gd name="T44" fmla="*/ 28326 w 306"/>
              <a:gd name="T45" fmla="*/ 0 h 321"/>
              <a:gd name="T46" fmla="*/ 21353 w 306"/>
              <a:gd name="T47" fmla="*/ 0 h 321"/>
              <a:gd name="T48" fmla="*/ 14817 w 306"/>
              <a:gd name="T49" fmla="*/ 519 h 321"/>
              <a:gd name="T50" fmla="*/ 9587 w 306"/>
              <a:gd name="T51" fmla="*/ 2596 h 321"/>
              <a:gd name="T52" fmla="*/ 4358 w 306"/>
              <a:gd name="T53" fmla="*/ 7270 h 321"/>
              <a:gd name="T54" fmla="*/ 436 w 306"/>
              <a:gd name="T55" fmla="*/ 12982 h 321"/>
              <a:gd name="T56" fmla="*/ 872 w 306"/>
              <a:gd name="T57" fmla="*/ 18175 h 321"/>
              <a:gd name="T58" fmla="*/ 6537 w 306"/>
              <a:gd name="T59" fmla="*/ 23887 h 321"/>
              <a:gd name="T60" fmla="*/ 15252 w 306"/>
              <a:gd name="T61" fmla="*/ 30118 h 321"/>
              <a:gd name="T62" fmla="*/ 23532 w 306"/>
              <a:gd name="T63" fmla="*/ 34792 h 321"/>
              <a:gd name="T64" fmla="*/ 20482 w 306"/>
              <a:gd name="T65" fmla="*/ 41023 h 321"/>
              <a:gd name="T66" fmla="*/ 10895 w 306"/>
              <a:gd name="T67" fmla="*/ 50370 h 321"/>
              <a:gd name="T68" fmla="*/ 7408 w 306"/>
              <a:gd name="T69" fmla="*/ 55563 h 321"/>
              <a:gd name="T70" fmla="*/ 6101 w 306"/>
              <a:gd name="T71" fmla="*/ 59198 h 321"/>
              <a:gd name="T72" fmla="*/ 6101 w 306"/>
              <a:gd name="T73" fmla="*/ 63352 h 321"/>
              <a:gd name="T74" fmla="*/ 7844 w 306"/>
              <a:gd name="T75" fmla="*/ 66987 h 321"/>
              <a:gd name="T76" fmla="*/ 12202 w 306"/>
              <a:gd name="T77" fmla="*/ 73218 h 321"/>
              <a:gd name="T78" fmla="*/ 20482 w 306"/>
              <a:gd name="T79" fmla="*/ 81007 h 321"/>
              <a:gd name="T80" fmla="*/ 27890 w 306"/>
              <a:gd name="T81" fmla="*/ 85161 h 321"/>
              <a:gd name="T82" fmla="*/ 32684 w 306"/>
              <a:gd name="T83" fmla="*/ 86200 h 321"/>
              <a:gd name="T84" fmla="*/ 46629 w 306"/>
              <a:gd name="T85" fmla="*/ 140724 h 321"/>
              <a:gd name="T86" fmla="*/ 47065 w 306"/>
              <a:gd name="T87" fmla="*/ 136570 h 321"/>
              <a:gd name="T88" fmla="*/ 48808 w 306"/>
              <a:gd name="T89" fmla="*/ 132935 h 321"/>
              <a:gd name="T90" fmla="*/ 55345 w 306"/>
              <a:gd name="T91" fmla="*/ 127742 h 321"/>
              <a:gd name="T92" fmla="*/ 64496 w 306"/>
              <a:gd name="T93" fmla="*/ 124627 h 321"/>
              <a:gd name="T94" fmla="*/ 75826 w 306"/>
              <a:gd name="T95" fmla="*/ 122030 h 321"/>
              <a:gd name="T96" fmla="*/ 75826 w 306"/>
              <a:gd name="T97" fmla="*/ 109048 h 321"/>
              <a:gd name="T98" fmla="*/ 79749 w 306"/>
              <a:gd name="T99" fmla="*/ 110087 h 321"/>
              <a:gd name="T100" fmla="*/ 84106 w 306"/>
              <a:gd name="T101" fmla="*/ 110087 h 321"/>
              <a:gd name="T102" fmla="*/ 92822 w 306"/>
              <a:gd name="T103" fmla="*/ 109048 h 321"/>
              <a:gd name="T104" fmla="*/ 101102 w 306"/>
              <a:gd name="T105" fmla="*/ 135531 h 321"/>
              <a:gd name="T106" fmla="*/ 112868 w 306"/>
              <a:gd name="T107" fmla="*/ 166688 h 321"/>
              <a:gd name="T108" fmla="*/ 118533 w 306"/>
              <a:gd name="T109" fmla="*/ 161495 h 321"/>
              <a:gd name="T110" fmla="*/ 122891 w 306"/>
              <a:gd name="T111" fmla="*/ 156822 h 321"/>
              <a:gd name="T112" fmla="*/ 128556 w 306"/>
              <a:gd name="T113" fmla="*/ 145398 h 321"/>
              <a:gd name="T114" fmla="*/ 133350 w 306"/>
              <a:gd name="T115" fmla="*/ 122030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2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40237 w 471"/>
              <a:gd name="T1" fmla="*/ 6252 h 518"/>
              <a:gd name="T2" fmla="*/ 28679 w 471"/>
              <a:gd name="T3" fmla="*/ 16672 h 518"/>
              <a:gd name="T4" fmla="*/ 17122 w 471"/>
              <a:gd name="T5" fmla="*/ 25529 h 518"/>
              <a:gd name="T6" fmla="*/ 11557 w 471"/>
              <a:gd name="T7" fmla="*/ 42722 h 518"/>
              <a:gd name="T8" fmla="*/ 3424 w 471"/>
              <a:gd name="T9" fmla="*/ 61477 h 518"/>
              <a:gd name="T10" fmla="*/ 2996 w 471"/>
              <a:gd name="T11" fmla="*/ 70855 h 518"/>
              <a:gd name="T12" fmla="*/ 12842 w 471"/>
              <a:gd name="T13" fmla="*/ 79712 h 518"/>
              <a:gd name="T14" fmla="*/ 21403 w 471"/>
              <a:gd name="T15" fmla="*/ 87527 h 518"/>
              <a:gd name="T16" fmla="*/ 26539 w 471"/>
              <a:gd name="T17" fmla="*/ 89611 h 518"/>
              <a:gd name="T18" fmla="*/ 32104 w 471"/>
              <a:gd name="T19" fmla="*/ 109930 h 518"/>
              <a:gd name="T20" fmla="*/ 35956 w 471"/>
              <a:gd name="T21" fmla="*/ 141710 h 518"/>
              <a:gd name="T22" fmla="*/ 40237 w 471"/>
              <a:gd name="T23" fmla="*/ 155777 h 518"/>
              <a:gd name="T24" fmla="*/ 44517 w 471"/>
              <a:gd name="T25" fmla="*/ 157340 h 518"/>
              <a:gd name="T26" fmla="*/ 47942 w 471"/>
              <a:gd name="T27" fmla="*/ 154735 h 518"/>
              <a:gd name="T28" fmla="*/ 54791 w 471"/>
              <a:gd name="T29" fmla="*/ 139626 h 518"/>
              <a:gd name="T30" fmla="*/ 62067 w 471"/>
              <a:gd name="T31" fmla="*/ 136500 h 518"/>
              <a:gd name="T32" fmla="*/ 68488 w 471"/>
              <a:gd name="T33" fmla="*/ 141710 h 518"/>
              <a:gd name="T34" fmla="*/ 74053 w 471"/>
              <a:gd name="T35" fmla="*/ 144315 h 518"/>
              <a:gd name="T36" fmla="*/ 78333 w 471"/>
              <a:gd name="T37" fmla="*/ 142752 h 518"/>
              <a:gd name="T38" fmla="*/ 82186 w 471"/>
              <a:gd name="T39" fmla="*/ 134938 h 518"/>
              <a:gd name="T40" fmla="*/ 86894 w 471"/>
              <a:gd name="T41" fmla="*/ 127123 h 518"/>
              <a:gd name="T42" fmla="*/ 90747 w 471"/>
              <a:gd name="T43" fmla="*/ 125560 h 518"/>
              <a:gd name="T44" fmla="*/ 103160 w 471"/>
              <a:gd name="T45" fmla="*/ 128686 h 518"/>
              <a:gd name="T46" fmla="*/ 110865 w 471"/>
              <a:gd name="T47" fmla="*/ 141189 h 518"/>
              <a:gd name="T48" fmla="*/ 131840 w 471"/>
              <a:gd name="T49" fmla="*/ 175054 h 518"/>
              <a:gd name="T50" fmla="*/ 145965 w 471"/>
              <a:gd name="T51" fmla="*/ 199020 h 518"/>
              <a:gd name="T52" fmla="*/ 153242 w 471"/>
              <a:gd name="T53" fmla="*/ 218297 h 518"/>
              <a:gd name="T54" fmla="*/ 156667 w 471"/>
              <a:gd name="T55" fmla="*/ 238094 h 518"/>
              <a:gd name="T56" fmla="*/ 153670 w 471"/>
              <a:gd name="T57" fmla="*/ 244867 h 518"/>
              <a:gd name="T58" fmla="*/ 145109 w 471"/>
              <a:gd name="T59" fmla="*/ 253724 h 518"/>
              <a:gd name="T60" fmla="*/ 155382 w 471"/>
              <a:gd name="T61" fmla="*/ 258413 h 518"/>
              <a:gd name="T62" fmla="*/ 167796 w 471"/>
              <a:gd name="T63" fmla="*/ 269875 h 518"/>
              <a:gd name="T64" fmla="*/ 171648 w 471"/>
              <a:gd name="T65" fmla="*/ 259976 h 518"/>
              <a:gd name="T66" fmla="*/ 176785 w 471"/>
              <a:gd name="T67" fmla="*/ 254766 h 518"/>
              <a:gd name="T68" fmla="*/ 190055 w 471"/>
              <a:gd name="T69" fmla="*/ 251640 h 518"/>
              <a:gd name="T70" fmla="*/ 200328 w 471"/>
              <a:gd name="T71" fmla="*/ 228195 h 518"/>
              <a:gd name="T72" fmla="*/ 192195 w 471"/>
              <a:gd name="T73" fmla="*/ 201625 h 518"/>
              <a:gd name="T74" fmla="*/ 180209 w 471"/>
              <a:gd name="T75" fmla="*/ 180785 h 518"/>
              <a:gd name="T76" fmla="*/ 147678 w 471"/>
              <a:gd name="T77" fmla="*/ 144315 h 518"/>
              <a:gd name="T78" fmla="*/ 119426 w 471"/>
              <a:gd name="T79" fmla="*/ 113577 h 518"/>
              <a:gd name="T80" fmla="*/ 95883 w 471"/>
              <a:gd name="T81" fmla="*/ 84401 h 518"/>
              <a:gd name="T82" fmla="*/ 76621 w 471"/>
              <a:gd name="T83" fmla="*/ 54704 h 518"/>
              <a:gd name="T84" fmla="*/ 54362 w 471"/>
              <a:gd name="T85" fmla="*/ 20840 h 518"/>
              <a:gd name="T86" fmla="*/ 49226 w 471"/>
              <a:gd name="T87" fmla="*/ 7294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3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69178 w 293"/>
              <a:gd name="T1" fmla="*/ 10054 h 246"/>
              <a:gd name="T2" fmla="*/ 81466 w 293"/>
              <a:gd name="T3" fmla="*/ 15875 h 246"/>
              <a:gd name="T4" fmla="*/ 89203 w 293"/>
              <a:gd name="T5" fmla="*/ 15875 h 246"/>
              <a:gd name="T6" fmla="*/ 91934 w 293"/>
              <a:gd name="T7" fmla="*/ 9525 h 246"/>
              <a:gd name="T8" fmla="*/ 95575 w 293"/>
              <a:gd name="T9" fmla="*/ 5292 h 246"/>
              <a:gd name="T10" fmla="*/ 99671 w 293"/>
              <a:gd name="T11" fmla="*/ 3175 h 246"/>
              <a:gd name="T12" fmla="*/ 111504 w 293"/>
              <a:gd name="T13" fmla="*/ 1058 h 246"/>
              <a:gd name="T14" fmla="*/ 133350 w 293"/>
              <a:gd name="T15" fmla="*/ 42333 h 246"/>
              <a:gd name="T16" fmla="*/ 121062 w 293"/>
              <a:gd name="T17" fmla="*/ 56621 h 246"/>
              <a:gd name="T18" fmla="*/ 107863 w 293"/>
              <a:gd name="T19" fmla="*/ 74613 h 246"/>
              <a:gd name="T20" fmla="*/ 102402 w 293"/>
              <a:gd name="T21" fmla="*/ 84138 h 246"/>
              <a:gd name="T22" fmla="*/ 97851 w 293"/>
              <a:gd name="T23" fmla="*/ 94192 h 246"/>
              <a:gd name="T24" fmla="*/ 95120 w 293"/>
              <a:gd name="T25" fmla="*/ 104246 h 246"/>
              <a:gd name="T26" fmla="*/ 93755 w 293"/>
              <a:gd name="T27" fmla="*/ 114300 h 246"/>
              <a:gd name="T28" fmla="*/ 89203 w 293"/>
              <a:gd name="T29" fmla="*/ 114829 h 246"/>
              <a:gd name="T30" fmla="*/ 84652 w 293"/>
              <a:gd name="T31" fmla="*/ 116417 h 246"/>
              <a:gd name="T32" fmla="*/ 77370 w 293"/>
              <a:gd name="T33" fmla="*/ 121179 h 246"/>
              <a:gd name="T34" fmla="*/ 70088 w 293"/>
              <a:gd name="T35" fmla="*/ 126471 h 246"/>
              <a:gd name="T36" fmla="*/ 60531 w 293"/>
              <a:gd name="T37" fmla="*/ 130175 h 246"/>
              <a:gd name="T38" fmla="*/ 46422 w 293"/>
              <a:gd name="T39" fmla="*/ 127000 h 246"/>
              <a:gd name="T40" fmla="*/ 32313 w 293"/>
              <a:gd name="T41" fmla="*/ 122767 h 246"/>
              <a:gd name="T42" fmla="*/ 26852 w 293"/>
              <a:gd name="T43" fmla="*/ 119592 h 246"/>
              <a:gd name="T44" fmla="*/ 22301 w 293"/>
              <a:gd name="T45" fmla="*/ 116417 h 246"/>
              <a:gd name="T46" fmla="*/ 19570 w 293"/>
              <a:gd name="T47" fmla="*/ 112183 h 246"/>
              <a:gd name="T48" fmla="*/ 18660 w 293"/>
              <a:gd name="T49" fmla="*/ 107950 h 246"/>
              <a:gd name="T50" fmla="*/ 21391 w 293"/>
              <a:gd name="T51" fmla="*/ 94192 h 246"/>
              <a:gd name="T52" fmla="*/ 20480 w 293"/>
              <a:gd name="T53" fmla="*/ 85725 h 246"/>
              <a:gd name="T54" fmla="*/ 18205 w 293"/>
              <a:gd name="T55" fmla="*/ 77788 h 246"/>
              <a:gd name="T56" fmla="*/ 10923 w 293"/>
              <a:gd name="T57" fmla="*/ 62971 h 246"/>
              <a:gd name="T58" fmla="*/ 3641 w 293"/>
              <a:gd name="T59" fmla="*/ 48154 h 246"/>
              <a:gd name="T60" fmla="*/ 910 w 293"/>
              <a:gd name="T61" fmla="*/ 39158 h 246"/>
              <a:gd name="T62" fmla="*/ 0 w 293"/>
              <a:gd name="T63" fmla="*/ 29104 h 246"/>
              <a:gd name="T64" fmla="*/ 910 w 293"/>
              <a:gd name="T65" fmla="*/ 23813 h 246"/>
              <a:gd name="T66" fmla="*/ 3641 w 293"/>
              <a:gd name="T67" fmla="*/ 19050 h 246"/>
              <a:gd name="T68" fmla="*/ 7737 w 293"/>
              <a:gd name="T69" fmla="*/ 15346 h 246"/>
              <a:gd name="T70" fmla="*/ 11833 w 293"/>
              <a:gd name="T71" fmla="*/ 11642 h 246"/>
              <a:gd name="T72" fmla="*/ 21846 w 293"/>
              <a:gd name="T73" fmla="*/ 7408 h 246"/>
              <a:gd name="T74" fmla="*/ 30493 w 293"/>
              <a:gd name="T75" fmla="*/ 6350 h 246"/>
              <a:gd name="T76" fmla="*/ 43691 w 293"/>
              <a:gd name="T77" fmla="*/ 6350 h 246"/>
              <a:gd name="T78" fmla="*/ 60531 w 293"/>
              <a:gd name="T79" fmla="*/ 6350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4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7715 w 200"/>
              <a:gd name="T1" fmla="*/ 21696 h 246"/>
              <a:gd name="T2" fmla="*/ 12002 w 200"/>
              <a:gd name="T3" fmla="*/ 13758 h 246"/>
              <a:gd name="T4" fmla="*/ 16288 w 200"/>
              <a:gd name="T5" fmla="*/ 8467 h 246"/>
              <a:gd name="T6" fmla="*/ 21431 w 200"/>
              <a:gd name="T7" fmla="*/ 4763 h 246"/>
              <a:gd name="T8" fmla="*/ 31290 w 200"/>
              <a:gd name="T9" fmla="*/ 529 h 246"/>
              <a:gd name="T10" fmla="*/ 37719 w 200"/>
              <a:gd name="T11" fmla="*/ 6350 h 246"/>
              <a:gd name="T12" fmla="*/ 46292 w 200"/>
              <a:gd name="T13" fmla="*/ 17992 h 246"/>
              <a:gd name="T14" fmla="*/ 53578 w 200"/>
              <a:gd name="T15" fmla="*/ 26458 h 246"/>
              <a:gd name="T16" fmla="*/ 59579 w 200"/>
              <a:gd name="T17" fmla="*/ 30692 h 246"/>
              <a:gd name="T18" fmla="*/ 65151 w 200"/>
              <a:gd name="T19" fmla="*/ 33867 h 246"/>
              <a:gd name="T20" fmla="*/ 71152 w 200"/>
              <a:gd name="T21" fmla="*/ 35454 h 246"/>
              <a:gd name="T22" fmla="*/ 78867 w 200"/>
              <a:gd name="T23" fmla="*/ 50800 h 246"/>
              <a:gd name="T24" fmla="*/ 83582 w 200"/>
              <a:gd name="T25" fmla="*/ 72496 h 246"/>
              <a:gd name="T26" fmla="*/ 85296 w 200"/>
              <a:gd name="T27" fmla="*/ 87313 h 246"/>
              <a:gd name="T28" fmla="*/ 85725 w 200"/>
              <a:gd name="T29" fmla="*/ 97896 h 246"/>
              <a:gd name="T30" fmla="*/ 84868 w 200"/>
              <a:gd name="T31" fmla="*/ 104246 h 246"/>
              <a:gd name="T32" fmla="*/ 83582 w 200"/>
              <a:gd name="T33" fmla="*/ 109537 h 246"/>
              <a:gd name="T34" fmla="*/ 81010 w 200"/>
              <a:gd name="T35" fmla="*/ 113242 h 246"/>
              <a:gd name="T36" fmla="*/ 76724 w 200"/>
              <a:gd name="T37" fmla="*/ 116417 h 246"/>
              <a:gd name="T38" fmla="*/ 70295 w 200"/>
              <a:gd name="T39" fmla="*/ 118533 h 246"/>
              <a:gd name="T40" fmla="*/ 60008 w 200"/>
              <a:gd name="T41" fmla="*/ 118533 h 246"/>
              <a:gd name="T42" fmla="*/ 50578 w 200"/>
              <a:gd name="T43" fmla="*/ 121179 h 246"/>
              <a:gd name="T44" fmla="*/ 47577 w 200"/>
              <a:gd name="T45" fmla="*/ 124354 h 246"/>
              <a:gd name="T46" fmla="*/ 46292 w 200"/>
              <a:gd name="T47" fmla="*/ 128058 h 246"/>
              <a:gd name="T48" fmla="*/ 42005 w 200"/>
              <a:gd name="T49" fmla="*/ 129646 h 246"/>
              <a:gd name="T50" fmla="*/ 36433 w 200"/>
              <a:gd name="T51" fmla="*/ 127000 h 246"/>
              <a:gd name="T52" fmla="*/ 33004 w 200"/>
              <a:gd name="T53" fmla="*/ 121708 h 246"/>
              <a:gd name="T54" fmla="*/ 31290 w 200"/>
              <a:gd name="T55" fmla="*/ 114300 h 246"/>
              <a:gd name="T56" fmla="*/ 30861 w 200"/>
              <a:gd name="T57" fmla="*/ 101600 h 246"/>
              <a:gd name="T58" fmla="*/ 30432 w 200"/>
              <a:gd name="T59" fmla="*/ 88900 h 246"/>
              <a:gd name="T60" fmla="*/ 29575 w 200"/>
              <a:gd name="T61" fmla="*/ 81492 h 246"/>
              <a:gd name="T62" fmla="*/ 27432 w 200"/>
              <a:gd name="T63" fmla="*/ 75142 h 246"/>
              <a:gd name="T64" fmla="*/ 24003 w 200"/>
              <a:gd name="T65" fmla="*/ 70908 h 246"/>
              <a:gd name="T66" fmla="*/ 17145 w 200"/>
              <a:gd name="T67" fmla="*/ 66146 h 246"/>
              <a:gd name="T68" fmla="*/ 7715 w 200"/>
              <a:gd name="T69" fmla="*/ 60854 h 246"/>
              <a:gd name="T70" fmla="*/ 2572 w 200"/>
              <a:gd name="T71" fmla="*/ 56092 h 246"/>
              <a:gd name="T72" fmla="*/ 429 w 200"/>
              <a:gd name="T73" fmla="*/ 51858 h 246"/>
              <a:gd name="T74" fmla="*/ 429 w 200"/>
              <a:gd name="T75" fmla="*/ 46038 h 246"/>
              <a:gd name="T76" fmla="*/ 2143 w 200"/>
              <a:gd name="T77" fmla="*/ 41275 h 246"/>
              <a:gd name="T78" fmla="*/ 4286 w 200"/>
              <a:gd name="T79" fmla="*/ 35983 h 246"/>
              <a:gd name="T80" fmla="*/ 5572 w 200"/>
              <a:gd name="T81" fmla="*/ 29633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5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39204 w 538"/>
              <a:gd name="T1" fmla="*/ 10953 h 487"/>
              <a:gd name="T2" fmla="*/ 68929 w 538"/>
              <a:gd name="T3" fmla="*/ 24513 h 487"/>
              <a:gd name="T4" fmla="*/ 87023 w 538"/>
              <a:gd name="T5" fmla="*/ 36509 h 487"/>
              <a:gd name="T6" fmla="*/ 108995 w 538"/>
              <a:gd name="T7" fmla="*/ 57372 h 487"/>
              <a:gd name="T8" fmla="*/ 129243 w 538"/>
              <a:gd name="T9" fmla="*/ 70932 h 487"/>
              <a:gd name="T10" fmla="*/ 128812 w 538"/>
              <a:gd name="T11" fmla="*/ 83971 h 487"/>
              <a:gd name="T12" fmla="*/ 149491 w 538"/>
              <a:gd name="T13" fmla="*/ 106920 h 487"/>
              <a:gd name="T14" fmla="*/ 169308 w 538"/>
              <a:gd name="T15" fmla="*/ 129347 h 487"/>
              <a:gd name="T16" fmla="*/ 163276 w 538"/>
              <a:gd name="T17" fmla="*/ 130390 h 487"/>
              <a:gd name="T18" fmla="*/ 160261 w 538"/>
              <a:gd name="T19" fmla="*/ 133520 h 487"/>
              <a:gd name="T20" fmla="*/ 160261 w 538"/>
              <a:gd name="T21" fmla="*/ 144994 h 487"/>
              <a:gd name="T22" fmla="*/ 162415 w 538"/>
              <a:gd name="T23" fmla="*/ 156990 h 487"/>
              <a:gd name="T24" fmla="*/ 167585 w 538"/>
              <a:gd name="T25" fmla="*/ 169507 h 487"/>
              <a:gd name="T26" fmla="*/ 175339 w 538"/>
              <a:gd name="T27" fmla="*/ 181503 h 487"/>
              <a:gd name="T28" fmla="*/ 184386 w 538"/>
              <a:gd name="T29" fmla="*/ 190891 h 487"/>
              <a:gd name="T30" fmla="*/ 194295 w 538"/>
              <a:gd name="T31" fmla="*/ 196107 h 487"/>
              <a:gd name="T32" fmla="*/ 198603 w 538"/>
              <a:gd name="T33" fmla="*/ 203409 h 487"/>
              <a:gd name="T34" fmla="*/ 203342 w 538"/>
              <a:gd name="T35" fmla="*/ 211754 h 487"/>
              <a:gd name="T36" fmla="*/ 210665 w 538"/>
              <a:gd name="T37" fmla="*/ 217491 h 487"/>
              <a:gd name="T38" fmla="*/ 221005 w 538"/>
              <a:gd name="T39" fmla="*/ 225314 h 487"/>
              <a:gd name="T40" fmla="*/ 223159 w 538"/>
              <a:gd name="T41" fmla="*/ 231573 h 487"/>
              <a:gd name="T42" fmla="*/ 226174 w 538"/>
              <a:gd name="T43" fmla="*/ 234702 h 487"/>
              <a:gd name="T44" fmla="*/ 231775 w 538"/>
              <a:gd name="T45" fmla="*/ 237832 h 487"/>
              <a:gd name="T46" fmla="*/ 230052 w 538"/>
              <a:gd name="T47" fmla="*/ 246177 h 487"/>
              <a:gd name="T48" fmla="*/ 223590 w 538"/>
              <a:gd name="T49" fmla="*/ 252435 h 487"/>
              <a:gd name="T50" fmla="*/ 211096 w 538"/>
              <a:gd name="T51" fmla="*/ 254000 h 487"/>
              <a:gd name="T52" fmla="*/ 193002 w 538"/>
              <a:gd name="T53" fmla="*/ 250349 h 487"/>
              <a:gd name="T54" fmla="*/ 178355 w 538"/>
              <a:gd name="T55" fmla="*/ 243047 h 487"/>
              <a:gd name="T56" fmla="*/ 166292 w 538"/>
              <a:gd name="T57" fmla="*/ 232616 h 487"/>
              <a:gd name="T58" fmla="*/ 152937 w 538"/>
              <a:gd name="T59" fmla="*/ 216448 h 487"/>
              <a:gd name="T60" fmla="*/ 134412 w 538"/>
              <a:gd name="T61" fmla="*/ 190370 h 487"/>
              <a:gd name="T62" fmla="*/ 118042 w 538"/>
              <a:gd name="T63" fmla="*/ 172115 h 487"/>
              <a:gd name="T64" fmla="*/ 105979 w 538"/>
              <a:gd name="T65" fmla="*/ 164813 h 487"/>
              <a:gd name="T66" fmla="*/ 91331 w 538"/>
              <a:gd name="T67" fmla="*/ 161162 h 487"/>
              <a:gd name="T68" fmla="*/ 77546 w 538"/>
              <a:gd name="T69" fmla="*/ 161684 h 487"/>
              <a:gd name="T70" fmla="*/ 65914 w 538"/>
              <a:gd name="T71" fmla="*/ 165335 h 487"/>
              <a:gd name="T72" fmla="*/ 48681 w 538"/>
              <a:gd name="T73" fmla="*/ 179938 h 487"/>
              <a:gd name="T74" fmla="*/ 58590 w 538"/>
              <a:gd name="T75" fmla="*/ 188283 h 487"/>
              <a:gd name="T76" fmla="*/ 60313 w 538"/>
              <a:gd name="T77" fmla="*/ 192977 h 487"/>
              <a:gd name="T78" fmla="*/ 53420 w 538"/>
              <a:gd name="T79" fmla="*/ 209146 h 487"/>
              <a:gd name="T80" fmla="*/ 48681 w 538"/>
              <a:gd name="T81" fmla="*/ 215926 h 487"/>
              <a:gd name="T82" fmla="*/ 20248 w 538"/>
              <a:gd name="T83" fmla="*/ 210189 h 487"/>
              <a:gd name="T84" fmla="*/ 8616 w 538"/>
              <a:gd name="T85" fmla="*/ 135084 h 487"/>
              <a:gd name="T86" fmla="*/ 8616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6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57175 w 253"/>
              <a:gd name="T1" fmla="*/ 523 h 246"/>
              <a:gd name="T2" fmla="*/ 66003 w 253"/>
              <a:gd name="T3" fmla="*/ 4182 h 246"/>
              <a:gd name="T4" fmla="*/ 75252 w 253"/>
              <a:gd name="T5" fmla="*/ 10977 h 246"/>
              <a:gd name="T6" fmla="*/ 83660 w 253"/>
              <a:gd name="T7" fmla="*/ 19340 h 246"/>
              <a:gd name="T8" fmla="*/ 91648 w 253"/>
              <a:gd name="T9" fmla="*/ 29795 h 246"/>
              <a:gd name="T10" fmla="*/ 98374 w 253"/>
              <a:gd name="T11" fmla="*/ 39726 h 246"/>
              <a:gd name="T12" fmla="*/ 102999 w 253"/>
              <a:gd name="T13" fmla="*/ 49135 h 246"/>
              <a:gd name="T14" fmla="*/ 105942 w 253"/>
              <a:gd name="T15" fmla="*/ 58021 h 246"/>
              <a:gd name="T16" fmla="*/ 105942 w 253"/>
              <a:gd name="T17" fmla="*/ 66907 h 246"/>
              <a:gd name="T18" fmla="*/ 102158 w 253"/>
              <a:gd name="T19" fmla="*/ 78929 h 246"/>
              <a:gd name="T20" fmla="*/ 96272 w 253"/>
              <a:gd name="T21" fmla="*/ 90952 h 246"/>
              <a:gd name="T22" fmla="*/ 87864 w 253"/>
              <a:gd name="T23" fmla="*/ 101929 h 246"/>
              <a:gd name="T24" fmla="*/ 77354 w 253"/>
              <a:gd name="T25" fmla="*/ 111860 h 246"/>
              <a:gd name="T26" fmla="*/ 66003 w 253"/>
              <a:gd name="T27" fmla="*/ 119701 h 246"/>
              <a:gd name="T28" fmla="*/ 54232 w 253"/>
              <a:gd name="T29" fmla="*/ 125451 h 246"/>
              <a:gd name="T30" fmla="*/ 42040 w 253"/>
              <a:gd name="T31" fmla="*/ 128064 h 246"/>
              <a:gd name="T32" fmla="*/ 31110 w 253"/>
              <a:gd name="T33" fmla="*/ 128064 h 246"/>
              <a:gd name="T34" fmla="*/ 22281 w 253"/>
              <a:gd name="T35" fmla="*/ 125451 h 246"/>
              <a:gd name="T36" fmla="*/ 13873 w 253"/>
              <a:gd name="T37" fmla="*/ 122314 h 246"/>
              <a:gd name="T38" fmla="*/ 4624 w 253"/>
              <a:gd name="T39" fmla="*/ 119701 h 246"/>
              <a:gd name="T40" fmla="*/ 1261 w 253"/>
              <a:gd name="T41" fmla="*/ 114474 h 246"/>
              <a:gd name="T42" fmla="*/ 4204 w 253"/>
              <a:gd name="T43" fmla="*/ 107156 h 246"/>
              <a:gd name="T44" fmla="*/ 9249 w 253"/>
              <a:gd name="T45" fmla="*/ 102451 h 246"/>
              <a:gd name="T46" fmla="*/ 15555 w 253"/>
              <a:gd name="T47" fmla="*/ 99838 h 246"/>
              <a:gd name="T48" fmla="*/ 21020 w 253"/>
              <a:gd name="T49" fmla="*/ 102974 h 246"/>
              <a:gd name="T50" fmla="*/ 25224 w 253"/>
              <a:gd name="T51" fmla="*/ 108201 h 246"/>
              <a:gd name="T52" fmla="*/ 28587 w 253"/>
              <a:gd name="T53" fmla="*/ 105065 h 246"/>
              <a:gd name="T54" fmla="*/ 31530 w 253"/>
              <a:gd name="T55" fmla="*/ 99315 h 246"/>
              <a:gd name="T56" fmla="*/ 35314 w 253"/>
              <a:gd name="T57" fmla="*/ 94088 h 246"/>
              <a:gd name="T58" fmla="*/ 38257 w 253"/>
              <a:gd name="T59" fmla="*/ 94611 h 246"/>
              <a:gd name="T60" fmla="*/ 41200 w 253"/>
              <a:gd name="T61" fmla="*/ 93565 h 246"/>
              <a:gd name="T62" fmla="*/ 44563 w 253"/>
              <a:gd name="T63" fmla="*/ 93043 h 246"/>
              <a:gd name="T64" fmla="*/ 50448 w 253"/>
              <a:gd name="T65" fmla="*/ 90952 h 246"/>
              <a:gd name="T66" fmla="*/ 62640 w 253"/>
              <a:gd name="T67" fmla="*/ 85725 h 246"/>
              <a:gd name="T68" fmla="*/ 75252 w 253"/>
              <a:gd name="T69" fmla="*/ 76839 h 246"/>
              <a:gd name="T70" fmla="*/ 82819 w 253"/>
              <a:gd name="T71" fmla="*/ 70566 h 246"/>
              <a:gd name="T72" fmla="*/ 88285 w 253"/>
              <a:gd name="T73" fmla="*/ 64294 h 246"/>
              <a:gd name="T74" fmla="*/ 91648 w 253"/>
              <a:gd name="T75" fmla="*/ 58021 h 246"/>
              <a:gd name="T76" fmla="*/ 92068 w 253"/>
              <a:gd name="T77" fmla="*/ 51226 h 246"/>
              <a:gd name="T78" fmla="*/ 89966 w 253"/>
              <a:gd name="T79" fmla="*/ 45999 h 246"/>
              <a:gd name="T80" fmla="*/ 88285 w 253"/>
              <a:gd name="T81" fmla="*/ 41817 h 246"/>
              <a:gd name="T82" fmla="*/ 87023 w 253"/>
              <a:gd name="T83" fmla="*/ 37635 h 246"/>
              <a:gd name="T84" fmla="*/ 84501 w 253"/>
              <a:gd name="T85" fmla="*/ 35022 h 246"/>
              <a:gd name="T86" fmla="*/ 80297 w 253"/>
              <a:gd name="T87" fmla="*/ 33976 h 246"/>
              <a:gd name="T88" fmla="*/ 77354 w 253"/>
              <a:gd name="T89" fmla="*/ 31885 h 246"/>
              <a:gd name="T90" fmla="*/ 75673 w 253"/>
              <a:gd name="T91" fmla="*/ 28226 h 246"/>
              <a:gd name="T92" fmla="*/ 58856 w 253"/>
              <a:gd name="T93" fmla="*/ 25613 h 246"/>
              <a:gd name="T94" fmla="*/ 57175 w 253"/>
              <a:gd name="T95" fmla="*/ 22999 h 246"/>
              <a:gd name="T96" fmla="*/ 57175 w 253"/>
              <a:gd name="T97" fmla="*/ 18818 h 246"/>
              <a:gd name="T98" fmla="*/ 58856 w 253"/>
              <a:gd name="T99" fmla="*/ 9409 h 246"/>
              <a:gd name="T100" fmla="*/ 46244 w 253"/>
              <a:gd name="T101" fmla="*/ 5750 h 246"/>
              <a:gd name="T102" fmla="*/ 40779 w 253"/>
              <a:gd name="T103" fmla="*/ 6273 h 246"/>
              <a:gd name="T104" fmla="*/ 36155 w 253"/>
              <a:gd name="T105" fmla="*/ 9409 h 246"/>
              <a:gd name="T106" fmla="*/ 43722 w 253"/>
              <a:gd name="T107" fmla="*/ 2614 h 246"/>
              <a:gd name="T108" fmla="*/ 47506 w 253"/>
              <a:gd name="T109" fmla="*/ 523 h 246"/>
              <a:gd name="T110" fmla="*/ 53391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7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18465 w 141"/>
              <a:gd name="T1" fmla="*/ 119063 h 228"/>
              <a:gd name="T2" fmla="*/ 16213 w 141"/>
              <a:gd name="T3" fmla="*/ 114885 h 228"/>
              <a:gd name="T4" fmla="*/ 13060 w 141"/>
              <a:gd name="T5" fmla="*/ 108619 h 228"/>
              <a:gd name="T6" fmla="*/ 9908 w 141"/>
              <a:gd name="T7" fmla="*/ 101308 h 228"/>
              <a:gd name="T8" fmla="*/ 7206 w 141"/>
              <a:gd name="T9" fmla="*/ 92953 h 228"/>
              <a:gd name="T10" fmla="*/ 4504 w 141"/>
              <a:gd name="T11" fmla="*/ 85120 h 228"/>
              <a:gd name="T12" fmla="*/ 2252 w 141"/>
              <a:gd name="T13" fmla="*/ 77287 h 228"/>
              <a:gd name="T14" fmla="*/ 901 w 141"/>
              <a:gd name="T15" fmla="*/ 70498 h 228"/>
              <a:gd name="T16" fmla="*/ 0 w 141"/>
              <a:gd name="T17" fmla="*/ 64231 h 228"/>
              <a:gd name="T18" fmla="*/ 901 w 141"/>
              <a:gd name="T19" fmla="*/ 54309 h 228"/>
              <a:gd name="T20" fmla="*/ 1801 w 141"/>
              <a:gd name="T21" fmla="*/ 45432 h 228"/>
              <a:gd name="T22" fmla="*/ 2702 w 141"/>
              <a:gd name="T23" fmla="*/ 36554 h 228"/>
              <a:gd name="T24" fmla="*/ 4053 w 141"/>
              <a:gd name="T25" fmla="*/ 28721 h 228"/>
              <a:gd name="T26" fmla="*/ 8106 w 141"/>
              <a:gd name="T27" fmla="*/ 14622 h 228"/>
              <a:gd name="T28" fmla="*/ 12610 w 141"/>
              <a:gd name="T29" fmla="*/ 0 h 228"/>
              <a:gd name="T30" fmla="*/ 20266 w 141"/>
              <a:gd name="T31" fmla="*/ 8355 h 228"/>
              <a:gd name="T32" fmla="*/ 27922 w 141"/>
              <a:gd name="T33" fmla="*/ 14622 h 228"/>
              <a:gd name="T34" fmla="*/ 34227 w 141"/>
              <a:gd name="T35" fmla="*/ 19322 h 228"/>
              <a:gd name="T36" fmla="*/ 40082 w 141"/>
              <a:gd name="T37" fmla="*/ 25066 h 228"/>
              <a:gd name="T38" fmla="*/ 42784 w 141"/>
              <a:gd name="T39" fmla="*/ 28721 h 228"/>
              <a:gd name="T40" fmla="*/ 45486 w 141"/>
              <a:gd name="T41" fmla="*/ 32899 h 228"/>
              <a:gd name="T42" fmla="*/ 48188 w 141"/>
              <a:gd name="T43" fmla="*/ 38643 h 228"/>
              <a:gd name="T44" fmla="*/ 51340 w 141"/>
              <a:gd name="T45" fmla="*/ 44910 h 228"/>
              <a:gd name="T46" fmla="*/ 54043 w 141"/>
              <a:gd name="T47" fmla="*/ 52221 h 228"/>
              <a:gd name="T48" fmla="*/ 57195 w 141"/>
              <a:gd name="T49" fmla="*/ 61098 h 228"/>
              <a:gd name="T50" fmla="*/ 59897 w 141"/>
              <a:gd name="T51" fmla="*/ 72064 h 228"/>
              <a:gd name="T52" fmla="*/ 63500 w 141"/>
              <a:gd name="T53" fmla="*/ 84075 h 228"/>
              <a:gd name="T54" fmla="*/ 63050 w 141"/>
              <a:gd name="T55" fmla="*/ 88253 h 228"/>
              <a:gd name="T56" fmla="*/ 62149 w 141"/>
              <a:gd name="T57" fmla="*/ 92430 h 228"/>
              <a:gd name="T58" fmla="*/ 60798 w 141"/>
              <a:gd name="T59" fmla="*/ 97130 h 228"/>
              <a:gd name="T60" fmla="*/ 58996 w 141"/>
              <a:gd name="T61" fmla="*/ 100264 h 228"/>
              <a:gd name="T62" fmla="*/ 57195 w 141"/>
              <a:gd name="T63" fmla="*/ 103919 h 228"/>
              <a:gd name="T64" fmla="*/ 54493 w 141"/>
              <a:gd name="T65" fmla="*/ 106530 h 228"/>
              <a:gd name="T66" fmla="*/ 51791 w 141"/>
              <a:gd name="T67" fmla="*/ 109141 h 228"/>
              <a:gd name="T68" fmla="*/ 48638 w 141"/>
              <a:gd name="T69" fmla="*/ 111230 h 228"/>
              <a:gd name="T70" fmla="*/ 45035 w 141"/>
              <a:gd name="T71" fmla="*/ 113319 h 228"/>
              <a:gd name="T72" fmla="*/ 41883 w 141"/>
              <a:gd name="T73" fmla="*/ 114885 h 228"/>
              <a:gd name="T74" fmla="*/ 38280 w 141"/>
              <a:gd name="T75" fmla="*/ 116452 h 228"/>
              <a:gd name="T76" fmla="*/ 34227 w 141"/>
              <a:gd name="T77" fmla="*/ 117496 h 228"/>
              <a:gd name="T78" fmla="*/ 26571 w 141"/>
              <a:gd name="T79" fmla="*/ 118541 h 228"/>
              <a:gd name="T80" fmla="*/ 18465 w 141"/>
              <a:gd name="T81" fmla="*/ 119063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258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2504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5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6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7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8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9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0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1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2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3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4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5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6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7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8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9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0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1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22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3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4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5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6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7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259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55563 h 43"/>
              <a:gd name="T2" fmla="*/ 433 w 33"/>
              <a:gd name="T3" fmla="*/ 43934 h 43"/>
              <a:gd name="T4" fmla="*/ 866 w 33"/>
              <a:gd name="T5" fmla="*/ 34888 h 43"/>
              <a:gd name="T6" fmla="*/ 2165 w 33"/>
              <a:gd name="T7" fmla="*/ 27135 h 43"/>
              <a:gd name="T8" fmla="*/ 3897 w 33"/>
              <a:gd name="T9" fmla="*/ 19382 h 43"/>
              <a:gd name="T10" fmla="*/ 6062 w 33"/>
              <a:gd name="T11" fmla="*/ 11629 h 43"/>
              <a:gd name="T12" fmla="*/ 8659 w 33"/>
              <a:gd name="T13" fmla="*/ 6461 h 43"/>
              <a:gd name="T14" fmla="*/ 11257 w 33"/>
              <a:gd name="T15" fmla="*/ 2584 h 43"/>
              <a:gd name="T16" fmla="*/ 14288 w 33"/>
              <a:gd name="T17" fmla="*/ 0 h 43"/>
              <a:gd name="T18" fmla="*/ 14288 w 33"/>
              <a:gd name="T19" fmla="*/ 32304 h 43"/>
              <a:gd name="T20" fmla="*/ 9958 w 33"/>
              <a:gd name="T21" fmla="*/ 34888 h 43"/>
              <a:gd name="T22" fmla="*/ 7793 w 33"/>
              <a:gd name="T23" fmla="*/ 37473 h 43"/>
              <a:gd name="T24" fmla="*/ 6928 w 33"/>
              <a:gd name="T25" fmla="*/ 41349 h 43"/>
              <a:gd name="T26" fmla="*/ 6928 w 33"/>
              <a:gd name="T27" fmla="*/ 43934 h 43"/>
              <a:gd name="T28" fmla="*/ 6928 w 33"/>
              <a:gd name="T29" fmla="*/ 46518 h 43"/>
              <a:gd name="T30" fmla="*/ 6062 w 33"/>
              <a:gd name="T31" fmla="*/ 49102 h 43"/>
              <a:gd name="T32" fmla="*/ 4330 w 33"/>
              <a:gd name="T33" fmla="*/ 52979 h 43"/>
              <a:gd name="T34" fmla="*/ 0 w 33"/>
              <a:gd name="T35" fmla="*/ 55563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0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35115 h 92"/>
              <a:gd name="T2" fmla="*/ 412 w 54"/>
              <a:gd name="T3" fmla="*/ 32561 h 92"/>
              <a:gd name="T4" fmla="*/ 823 w 54"/>
              <a:gd name="T5" fmla="*/ 29369 h 92"/>
              <a:gd name="T6" fmla="*/ 1235 w 54"/>
              <a:gd name="T7" fmla="*/ 26815 h 92"/>
              <a:gd name="T8" fmla="*/ 2469 w 54"/>
              <a:gd name="T9" fmla="*/ 23623 h 92"/>
              <a:gd name="T10" fmla="*/ 4527 w 54"/>
              <a:gd name="T11" fmla="*/ 18515 h 92"/>
              <a:gd name="T12" fmla="*/ 7408 w 54"/>
              <a:gd name="T13" fmla="*/ 13408 h 92"/>
              <a:gd name="T14" fmla="*/ 12759 w 54"/>
              <a:gd name="T15" fmla="*/ 4469 h 92"/>
              <a:gd name="T16" fmla="*/ 16875 w 54"/>
              <a:gd name="T17" fmla="*/ 0 h 92"/>
              <a:gd name="T18" fmla="*/ 22225 w 54"/>
              <a:gd name="T19" fmla="*/ 7661 h 92"/>
              <a:gd name="T20" fmla="*/ 20990 w 54"/>
              <a:gd name="T21" fmla="*/ 13408 h 92"/>
              <a:gd name="T22" fmla="*/ 19344 w 54"/>
              <a:gd name="T23" fmla="*/ 18515 h 92"/>
              <a:gd name="T24" fmla="*/ 18109 w 54"/>
              <a:gd name="T25" fmla="*/ 22346 h 92"/>
              <a:gd name="T26" fmla="*/ 16875 w 54"/>
              <a:gd name="T27" fmla="*/ 26177 h 92"/>
              <a:gd name="T28" fmla="*/ 13582 w 54"/>
              <a:gd name="T29" fmla="*/ 31284 h 92"/>
              <a:gd name="T30" fmla="*/ 11524 w 54"/>
              <a:gd name="T31" fmla="*/ 35115 h 92"/>
              <a:gd name="T32" fmla="*/ 10701 w 54"/>
              <a:gd name="T33" fmla="*/ 40861 h 92"/>
              <a:gd name="T34" fmla="*/ 10701 w 54"/>
              <a:gd name="T35" fmla="*/ 47246 h 92"/>
              <a:gd name="T36" fmla="*/ 9878 w 54"/>
              <a:gd name="T37" fmla="*/ 52992 h 92"/>
              <a:gd name="T38" fmla="*/ 8231 w 54"/>
              <a:gd name="T39" fmla="*/ 58738 h 92"/>
              <a:gd name="T40" fmla="*/ 5762 w 54"/>
              <a:gd name="T41" fmla="*/ 52992 h 92"/>
              <a:gd name="T42" fmla="*/ 3293 w 54"/>
              <a:gd name="T43" fmla="*/ 47246 h 92"/>
              <a:gd name="T44" fmla="*/ 2058 w 54"/>
              <a:gd name="T45" fmla="*/ 44692 h 92"/>
              <a:gd name="T46" fmla="*/ 823 w 54"/>
              <a:gd name="T47" fmla="*/ 40861 h 92"/>
              <a:gd name="T48" fmla="*/ 412 w 54"/>
              <a:gd name="T49" fmla="*/ 38307 h 92"/>
              <a:gd name="T50" fmla="*/ 0 w 54"/>
              <a:gd name="T51" fmla="*/ 35115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1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7541 w 60"/>
              <a:gd name="T3" fmla="*/ 12700 h 18"/>
              <a:gd name="T4" fmla="*/ 14685 w 60"/>
              <a:gd name="T5" fmla="*/ 28575 h 18"/>
              <a:gd name="T6" fmla="*/ 17860 w 60"/>
              <a:gd name="T7" fmla="*/ 34925 h 18"/>
              <a:gd name="T8" fmla="*/ 20241 w 60"/>
              <a:gd name="T9" fmla="*/ 41275 h 18"/>
              <a:gd name="T10" fmla="*/ 22225 w 60"/>
              <a:gd name="T11" fmla="*/ 50800 h 18"/>
              <a:gd name="T12" fmla="*/ 23813 w 60"/>
              <a:gd name="T13" fmla="*/ 57150 h 18"/>
              <a:gd name="T14" fmla="*/ 15082 w 60"/>
              <a:gd name="T15" fmla="*/ 57150 h 18"/>
              <a:gd name="T16" fmla="*/ 9128 w 60"/>
              <a:gd name="T17" fmla="*/ 57150 h 18"/>
              <a:gd name="T18" fmla="*/ 3969 w 60"/>
              <a:gd name="T19" fmla="*/ 57150 h 18"/>
              <a:gd name="T20" fmla="*/ 0 w 60"/>
              <a:gd name="T21" fmla="*/ 57150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2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57150 h 18"/>
              <a:gd name="T2" fmla="*/ 25400 w 66"/>
              <a:gd name="T3" fmla="*/ 57150 h 18"/>
              <a:gd name="T4" fmla="*/ 20012 w 66"/>
              <a:gd name="T5" fmla="*/ 41275 h 18"/>
              <a:gd name="T6" fmla="*/ 15394 w 66"/>
              <a:gd name="T7" fmla="*/ 22225 h 18"/>
              <a:gd name="T8" fmla="*/ 13470 w 66"/>
              <a:gd name="T9" fmla="*/ 12700 h 18"/>
              <a:gd name="T10" fmla="*/ 11161 w 66"/>
              <a:gd name="T11" fmla="*/ 6350 h 18"/>
              <a:gd name="T12" fmla="*/ 9621 w 66"/>
              <a:gd name="T13" fmla="*/ 3175 h 18"/>
              <a:gd name="T14" fmla="*/ 7312 w 66"/>
              <a:gd name="T15" fmla="*/ 0 h 18"/>
              <a:gd name="T16" fmla="*/ 0 w 66"/>
              <a:gd name="T17" fmla="*/ 57150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3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48986 h 42"/>
              <a:gd name="T2" fmla="*/ 6070 w 17"/>
              <a:gd name="T3" fmla="*/ 57150 h 42"/>
              <a:gd name="T4" fmla="*/ 6537 w 17"/>
              <a:gd name="T5" fmla="*/ 44904 h 42"/>
              <a:gd name="T6" fmla="*/ 7471 w 17"/>
              <a:gd name="T7" fmla="*/ 31296 h 42"/>
              <a:gd name="T8" fmla="*/ 7938 w 17"/>
              <a:gd name="T9" fmla="*/ 24493 h 42"/>
              <a:gd name="T10" fmla="*/ 7471 w 17"/>
              <a:gd name="T11" fmla="*/ 16329 h 42"/>
              <a:gd name="T12" fmla="*/ 7471 w 17"/>
              <a:gd name="T13" fmla="*/ 8164 h 42"/>
              <a:gd name="T14" fmla="*/ 6070 w 17"/>
              <a:gd name="T15" fmla="*/ 0 h 42"/>
              <a:gd name="T16" fmla="*/ 0 w 17"/>
              <a:gd name="T17" fmla="*/ 48986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4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2514 w 72"/>
              <a:gd name="T1" fmla="*/ 58737 h 29"/>
              <a:gd name="T2" fmla="*/ 6284 w 72"/>
              <a:gd name="T3" fmla="*/ 52661 h 29"/>
              <a:gd name="T4" fmla="*/ 10054 w 72"/>
              <a:gd name="T5" fmla="*/ 48610 h 29"/>
              <a:gd name="T6" fmla="*/ 13406 w 72"/>
              <a:gd name="T7" fmla="*/ 48610 h 29"/>
              <a:gd name="T8" fmla="*/ 16338 w 72"/>
              <a:gd name="T9" fmla="*/ 48610 h 29"/>
              <a:gd name="T10" fmla="*/ 23041 w 72"/>
              <a:gd name="T11" fmla="*/ 54686 h 29"/>
              <a:gd name="T12" fmla="*/ 30163 w 72"/>
              <a:gd name="T13" fmla="*/ 58737 h 29"/>
              <a:gd name="T14" fmla="*/ 30163 w 72"/>
              <a:gd name="T15" fmla="*/ 8102 h 29"/>
              <a:gd name="T16" fmla="*/ 24298 w 72"/>
              <a:gd name="T17" fmla="*/ 2025 h 29"/>
              <a:gd name="T18" fmla="*/ 19690 w 72"/>
              <a:gd name="T19" fmla="*/ 0 h 29"/>
              <a:gd name="T20" fmla="*/ 16338 w 72"/>
              <a:gd name="T21" fmla="*/ 0 h 29"/>
              <a:gd name="T22" fmla="*/ 14244 w 72"/>
              <a:gd name="T23" fmla="*/ 4051 h 29"/>
              <a:gd name="T24" fmla="*/ 11311 w 72"/>
              <a:gd name="T25" fmla="*/ 6076 h 29"/>
              <a:gd name="T26" fmla="*/ 8798 w 72"/>
              <a:gd name="T27" fmla="*/ 10127 h 29"/>
              <a:gd name="T28" fmla="*/ 5027 w 72"/>
              <a:gd name="T29" fmla="*/ 10127 h 29"/>
              <a:gd name="T30" fmla="*/ 0 w 72"/>
              <a:gd name="T31" fmla="*/ 8102 h 29"/>
              <a:gd name="T32" fmla="*/ 1257 w 72"/>
              <a:gd name="T33" fmla="*/ 32407 h 29"/>
              <a:gd name="T34" fmla="*/ 2514 w 72"/>
              <a:gd name="T35" fmla="*/ 5873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5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3727 w 46"/>
              <a:gd name="T3" fmla="*/ 13515 h 37"/>
              <a:gd name="T4" fmla="*/ 8283 w 46"/>
              <a:gd name="T5" fmla="*/ 22526 h 37"/>
              <a:gd name="T6" fmla="*/ 12838 w 46"/>
              <a:gd name="T7" fmla="*/ 30034 h 37"/>
              <a:gd name="T8" fmla="*/ 19050 w 46"/>
              <a:gd name="T9" fmla="*/ 37543 h 37"/>
              <a:gd name="T10" fmla="*/ 15323 w 46"/>
              <a:gd name="T11" fmla="*/ 43549 h 37"/>
              <a:gd name="T12" fmla="*/ 12010 w 46"/>
              <a:gd name="T13" fmla="*/ 49556 h 37"/>
              <a:gd name="T14" fmla="*/ 8697 w 46"/>
              <a:gd name="T15" fmla="*/ 54061 h 37"/>
              <a:gd name="T16" fmla="*/ 5384 w 46"/>
              <a:gd name="T17" fmla="*/ 55563 h 37"/>
              <a:gd name="T18" fmla="*/ 3727 w 46"/>
              <a:gd name="T19" fmla="*/ 54061 h 37"/>
              <a:gd name="T20" fmla="*/ 2899 w 46"/>
              <a:gd name="T21" fmla="*/ 49556 h 37"/>
              <a:gd name="T22" fmla="*/ 2071 w 46"/>
              <a:gd name="T23" fmla="*/ 43549 h 37"/>
              <a:gd name="T24" fmla="*/ 1242 w 46"/>
              <a:gd name="T25" fmla="*/ 34539 h 37"/>
              <a:gd name="T26" fmla="*/ 414 w 46"/>
              <a:gd name="T27" fmla="*/ 18020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6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11113 w 26"/>
              <a:gd name="T3" fmla="*/ 57150 h 19"/>
              <a:gd name="T4" fmla="*/ 11113 w 26"/>
              <a:gd name="T5" fmla="*/ 27071 h 19"/>
              <a:gd name="T6" fmla="*/ 11113 w 26"/>
              <a:gd name="T7" fmla="*/ 0 h 19"/>
              <a:gd name="T8" fmla="*/ 6411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7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886 w 43"/>
              <a:gd name="T1" fmla="*/ 0 h 31"/>
              <a:gd name="T2" fmla="*/ 443 w 43"/>
              <a:gd name="T3" fmla="*/ 22737 h 31"/>
              <a:gd name="T4" fmla="*/ 0 w 43"/>
              <a:gd name="T5" fmla="*/ 43579 h 31"/>
              <a:gd name="T6" fmla="*/ 0 w 43"/>
              <a:gd name="T7" fmla="*/ 49263 h 31"/>
              <a:gd name="T8" fmla="*/ 0 w 43"/>
              <a:gd name="T9" fmla="*/ 54948 h 31"/>
              <a:gd name="T10" fmla="*/ 0 w 43"/>
              <a:gd name="T11" fmla="*/ 58737 h 31"/>
              <a:gd name="T12" fmla="*/ 886 w 43"/>
              <a:gd name="T13" fmla="*/ 58737 h 31"/>
              <a:gd name="T14" fmla="*/ 5759 w 43"/>
              <a:gd name="T15" fmla="*/ 41684 h 31"/>
              <a:gd name="T16" fmla="*/ 11076 w 43"/>
              <a:gd name="T17" fmla="*/ 24632 h 31"/>
              <a:gd name="T18" fmla="*/ 15506 w 43"/>
              <a:gd name="T19" fmla="*/ 9474 h 31"/>
              <a:gd name="T20" fmla="*/ 19050 w 43"/>
              <a:gd name="T21" fmla="*/ 0 h 31"/>
              <a:gd name="T22" fmla="*/ 886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8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1699 w 71"/>
              <a:gd name="T1" fmla="*/ 13996 h 49"/>
              <a:gd name="T2" fmla="*/ 1699 w 71"/>
              <a:gd name="T3" fmla="*/ 20994 h 49"/>
              <a:gd name="T4" fmla="*/ 2124 w 71"/>
              <a:gd name="T5" fmla="*/ 29158 h 49"/>
              <a:gd name="T6" fmla="*/ 2974 w 71"/>
              <a:gd name="T7" fmla="*/ 36156 h 49"/>
              <a:gd name="T8" fmla="*/ 3823 w 71"/>
              <a:gd name="T9" fmla="*/ 43154 h 49"/>
              <a:gd name="T10" fmla="*/ 5948 w 71"/>
              <a:gd name="T11" fmla="*/ 47819 h 49"/>
              <a:gd name="T12" fmla="*/ 7647 w 71"/>
              <a:gd name="T13" fmla="*/ 53651 h 49"/>
              <a:gd name="T14" fmla="*/ 9771 w 71"/>
              <a:gd name="T15" fmla="*/ 55984 h 49"/>
              <a:gd name="T16" fmla="*/ 12745 w 71"/>
              <a:gd name="T17" fmla="*/ 57150 h 49"/>
              <a:gd name="T18" fmla="*/ 14869 w 71"/>
              <a:gd name="T19" fmla="*/ 55984 h 49"/>
              <a:gd name="T20" fmla="*/ 16993 w 71"/>
              <a:gd name="T21" fmla="*/ 53651 h 49"/>
              <a:gd name="T22" fmla="*/ 19117 w 71"/>
              <a:gd name="T23" fmla="*/ 48986 h 49"/>
              <a:gd name="T24" fmla="*/ 21242 w 71"/>
              <a:gd name="T25" fmla="*/ 43154 h 49"/>
              <a:gd name="T26" fmla="*/ 25490 w 71"/>
              <a:gd name="T27" fmla="*/ 32657 h 49"/>
              <a:gd name="T28" fmla="*/ 30163 w 71"/>
              <a:gd name="T29" fmla="*/ 20994 h 49"/>
              <a:gd name="T30" fmla="*/ 25915 w 71"/>
              <a:gd name="T31" fmla="*/ 13996 h 49"/>
              <a:gd name="T32" fmla="*/ 22091 w 71"/>
              <a:gd name="T33" fmla="*/ 10497 h 49"/>
              <a:gd name="T34" fmla="*/ 18693 w 71"/>
              <a:gd name="T35" fmla="*/ 8164 h 49"/>
              <a:gd name="T36" fmla="*/ 15719 w 71"/>
              <a:gd name="T37" fmla="*/ 6998 h 49"/>
              <a:gd name="T38" fmla="*/ 12320 w 71"/>
              <a:gd name="T39" fmla="*/ 6998 h 49"/>
              <a:gd name="T40" fmla="*/ 8921 w 71"/>
              <a:gd name="T41" fmla="*/ 5832 h 49"/>
              <a:gd name="T42" fmla="*/ 5948 w 71"/>
              <a:gd name="T43" fmla="*/ 3499 h 49"/>
              <a:gd name="T44" fmla="*/ 1699 w 71"/>
              <a:gd name="T45" fmla="*/ 0 h 49"/>
              <a:gd name="T46" fmla="*/ 1274 w 71"/>
              <a:gd name="T47" fmla="*/ 1166 h 49"/>
              <a:gd name="T48" fmla="*/ 425 w 71"/>
              <a:gd name="T49" fmla="*/ 6998 h 49"/>
              <a:gd name="T50" fmla="*/ 0 w 71"/>
              <a:gd name="T51" fmla="*/ 9331 h 49"/>
              <a:gd name="T52" fmla="*/ 0 w 71"/>
              <a:gd name="T53" fmla="*/ 11663 h 49"/>
              <a:gd name="T54" fmla="*/ 425 w 71"/>
              <a:gd name="T55" fmla="*/ 12830 h 49"/>
              <a:gd name="T56" fmla="*/ 1699 w 71"/>
              <a:gd name="T57" fmla="*/ 13996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9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18908 w 112"/>
              <a:gd name="T1" fmla="*/ 4518 h 26"/>
              <a:gd name="T2" fmla="*/ 23019 w 112"/>
              <a:gd name="T3" fmla="*/ 4518 h 26"/>
              <a:gd name="T4" fmla="*/ 27129 w 112"/>
              <a:gd name="T5" fmla="*/ 6777 h 26"/>
              <a:gd name="T6" fmla="*/ 30417 w 112"/>
              <a:gd name="T7" fmla="*/ 9036 h 26"/>
              <a:gd name="T8" fmla="*/ 34528 w 112"/>
              <a:gd name="T9" fmla="*/ 13555 h 26"/>
              <a:gd name="T10" fmla="*/ 37816 w 112"/>
              <a:gd name="T11" fmla="*/ 20332 h 26"/>
              <a:gd name="T12" fmla="*/ 41104 w 112"/>
              <a:gd name="T13" fmla="*/ 27109 h 26"/>
              <a:gd name="T14" fmla="*/ 43571 w 112"/>
              <a:gd name="T15" fmla="*/ 36146 h 26"/>
              <a:gd name="T16" fmla="*/ 46037 w 112"/>
              <a:gd name="T17" fmla="*/ 45182 h 26"/>
              <a:gd name="T18" fmla="*/ 45215 w 112"/>
              <a:gd name="T19" fmla="*/ 49701 h 26"/>
              <a:gd name="T20" fmla="*/ 43160 w 112"/>
              <a:gd name="T21" fmla="*/ 51960 h 26"/>
              <a:gd name="T22" fmla="*/ 41516 w 112"/>
              <a:gd name="T23" fmla="*/ 56478 h 26"/>
              <a:gd name="T24" fmla="*/ 39049 w 112"/>
              <a:gd name="T25" fmla="*/ 56478 h 26"/>
              <a:gd name="T26" fmla="*/ 35761 w 112"/>
              <a:gd name="T27" fmla="*/ 58737 h 26"/>
              <a:gd name="T28" fmla="*/ 32473 w 112"/>
              <a:gd name="T29" fmla="*/ 58737 h 26"/>
              <a:gd name="T30" fmla="*/ 27129 w 112"/>
              <a:gd name="T31" fmla="*/ 54219 h 26"/>
              <a:gd name="T32" fmla="*/ 16853 w 112"/>
              <a:gd name="T33" fmla="*/ 42923 h 26"/>
              <a:gd name="T34" fmla="*/ 6577 w 112"/>
              <a:gd name="T35" fmla="*/ 29369 h 26"/>
              <a:gd name="T36" fmla="*/ 0 w 112"/>
              <a:gd name="T37" fmla="*/ 18073 h 26"/>
              <a:gd name="T38" fmla="*/ 2055 w 112"/>
              <a:gd name="T39" fmla="*/ 9036 h 26"/>
              <a:gd name="T40" fmla="*/ 4521 w 112"/>
              <a:gd name="T41" fmla="*/ 4518 h 26"/>
              <a:gd name="T42" fmla="*/ 7399 w 112"/>
              <a:gd name="T43" fmla="*/ 2259 h 26"/>
              <a:gd name="T44" fmla="*/ 10276 w 112"/>
              <a:gd name="T45" fmla="*/ 0 h 26"/>
              <a:gd name="T46" fmla="*/ 15209 w 112"/>
              <a:gd name="T47" fmla="*/ 2259 h 26"/>
              <a:gd name="T48" fmla="*/ 18908 w 112"/>
              <a:gd name="T49" fmla="*/ 4518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0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14287 w 41"/>
              <a:gd name="T3" fmla="*/ 0 h 25"/>
              <a:gd name="T4" fmla="*/ 9757 w 41"/>
              <a:gd name="T5" fmla="*/ 18796 h 25"/>
              <a:gd name="T6" fmla="*/ 6272 w 41"/>
              <a:gd name="T7" fmla="*/ 35242 h 25"/>
              <a:gd name="T8" fmla="*/ 3136 w 41"/>
              <a:gd name="T9" fmla="*/ 46990 h 25"/>
              <a:gd name="T10" fmla="*/ 0 w 41"/>
              <a:gd name="T11" fmla="*/ 5873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1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55563 h 31"/>
              <a:gd name="T2" fmla="*/ 0 w 81"/>
              <a:gd name="T3" fmla="*/ 39432 h 31"/>
              <a:gd name="T4" fmla="*/ 0 w 81"/>
              <a:gd name="T5" fmla="*/ 23301 h 31"/>
              <a:gd name="T6" fmla="*/ 0 w 81"/>
              <a:gd name="T7" fmla="*/ 17924 h 31"/>
              <a:gd name="T8" fmla="*/ 902 w 81"/>
              <a:gd name="T9" fmla="*/ 14339 h 31"/>
              <a:gd name="T10" fmla="*/ 1352 w 81"/>
              <a:gd name="T11" fmla="*/ 10754 h 31"/>
              <a:gd name="T12" fmla="*/ 1803 w 81"/>
              <a:gd name="T13" fmla="*/ 7169 h 31"/>
              <a:gd name="T14" fmla="*/ 3606 w 81"/>
              <a:gd name="T15" fmla="*/ 3585 h 31"/>
              <a:gd name="T16" fmla="*/ 6311 w 81"/>
              <a:gd name="T17" fmla="*/ 0 h 31"/>
              <a:gd name="T18" fmla="*/ 11720 w 81"/>
              <a:gd name="T19" fmla="*/ 1792 h 31"/>
              <a:gd name="T20" fmla="*/ 18482 w 81"/>
              <a:gd name="T21" fmla="*/ 1792 h 31"/>
              <a:gd name="T22" fmla="*/ 25244 w 81"/>
              <a:gd name="T23" fmla="*/ 1792 h 31"/>
              <a:gd name="T24" fmla="*/ 29301 w 81"/>
              <a:gd name="T25" fmla="*/ 1792 h 31"/>
              <a:gd name="T26" fmla="*/ 32907 w 81"/>
              <a:gd name="T27" fmla="*/ 1792 h 31"/>
              <a:gd name="T28" fmla="*/ 36513 w 81"/>
              <a:gd name="T29" fmla="*/ 1792 h 31"/>
              <a:gd name="T30" fmla="*/ 32907 w 81"/>
              <a:gd name="T31" fmla="*/ 10754 h 31"/>
              <a:gd name="T32" fmla="*/ 30202 w 81"/>
              <a:gd name="T33" fmla="*/ 17924 h 31"/>
              <a:gd name="T34" fmla="*/ 28850 w 81"/>
              <a:gd name="T35" fmla="*/ 25093 h 31"/>
              <a:gd name="T36" fmla="*/ 27948 w 81"/>
              <a:gd name="T37" fmla="*/ 32262 h 31"/>
              <a:gd name="T38" fmla="*/ 26596 w 81"/>
              <a:gd name="T39" fmla="*/ 37639 h 31"/>
              <a:gd name="T40" fmla="*/ 24342 w 81"/>
              <a:gd name="T41" fmla="*/ 41224 h 31"/>
              <a:gd name="T42" fmla="*/ 21187 w 81"/>
              <a:gd name="T43" fmla="*/ 44809 h 31"/>
              <a:gd name="T44" fmla="*/ 15326 w 81"/>
              <a:gd name="T45" fmla="*/ 44809 h 31"/>
              <a:gd name="T46" fmla="*/ 0 w 81"/>
              <a:gd name="T47" fmla="*/ 55563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2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892 w 89"/>
              <a:gd name="T1" fmla="*/ 55562 h 49"/>
              <a:gd name="T2" fmla="*/ 39688 w 89"/>
              <a:gd name="T3" fmla="*/ 55562 h 49"/>
              <a:gd name="T4" fmla="*/ 34783 w 89"/>
              <a:gd name="T5" fmla="*/ 46491 h 49"/>
              <a:gd name="T6" fmla="*/ 30323 w 89"/>
              <a:gd name="T7" fmla="*/ 39687 h 49"/>
              <a:gd name="T8" fmla="*/ 25418 w 89"/>
              <a:gd name="T9" fmla="*/ 34018 h 49"/>
              <a:gd name="T10" fmla="*/ 20513 w 89"/>
              <a:gd name="T11" fmla="*/ 28348 h 49"/>
              <a:gd name="T12" fmla="*/ 16054 w 89"/>
              <a:gd name="T13" fmla="*/ 23812 h 49"/>
              <a:gd name="T14" fmla="*/ 11594 w 89"/>
              <a:gd name="T15" fmla="*/ 15875 h 49"/>
              <a:gd name="T16" fmla="*/ 7135 w 89"/>
              <a:gd name="T17" fmla="*/ 9071 h 49"/>
              <a:gd name="T18" fmla="*/ 4013 w 89"/>
              <a:gd name="T19" fmla="*/ 0 h 49"/>
              <a:gd name="T20" fmla="*/ 1784 w 89"/>
              <a:gd name="T21" fmla="*/ 11339 h 49"/>
              <a:gd name="T22" fmla="*/ 446 w 89"/>
              <a:gd name="T23" fmla="*/ 26080 h 49"/>
              <a:gd name="T24" fmla="*/ 0 w 89"/>
              <a:gd name="T25" fmla="*/ 32884 h 49"/>
              <a:gd name="T26" fmla="*/ 0 w 89"/>
              <a:gd name="T27" fmla="*/ 40821 h 49"/>
              <a:gd name="T28" fmla="*/ 0 w 89"/>
              <a:gd name="T29" fmla="*/ 48758 h 49"/>
              <a:gd name="T30" fmla="*/ 892 w 89"/>
              <a:gd name="T31" fmla="*/ 55562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3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6815 h 46"/>
              <a:gd name="T2" fmla="*/ 5944 w 86"/>
              <a:gd name="T3" fmla="*/ 33199 h 46"/>
              <a:gd name="T4" fmla="*/ 10614 w 86"/>
              <a:gd name="T5" fmla="*/ 37030 h 46"/>
              <a:gd name="T6" fmla="*/ 12737 w 86"/>
              <a:gd name="T7" fmla="*/ 38307 h 46"/>
              <a:gd name="T8" fmla="*/ 15284 w 86"/>
              <a:gd name="T9" fmla="*/ 38307 h 46"/>
              <a:gd name="T10" fmla="*/ 17407 w 86"/>
              <a:gd name="T11" fmla="*/ 37030 h 46"/>
              <a:gd name="T12" fmla="*/ 19530 w 86"/>
              <a:gd name="T13" fmla="*/ 34476 h 46"/>
              <a:gd name="T14" fmla="*/ 19530 w 86"/>
              <a:gd name="T15" fmla="*/ 45968 h 46"/>
              <a:gd name="T16" fmla="*/ 19530 w 86"/>
              <a:gd name="T17" fmla="*/ 58737 h 46"/>
              <a:gd name="T18" fmla="*/ 23775 w 86"/>
              <a:gd name="T19" fmla="*/ 57460 h 46"/>
              <a:gd name="T20" fmla="*/ 28445 w 86"/>
              <a:gd name="T21" fmla="*/ 54906 h 46"/>
              <a:gd name="T22" fmla="*/ 32691 w 86"/>
              <a:gd name="T23" fmla="*/ 51076 h 46"/>
              <a:gd name="T24" fmla="*/ 36512 w 86"/>
              <a:gd name="T25" fmla="*/ 51076 h 46"/>
              <a:gd name="T26" fmla="*/ 35238 w 86"/>
              <a:gd name="T27" fmla="*/ 40861 h 46"/>
              <a:gd name="T28" fmla="*/ 33965 w 86"/>
              <a:gd name="T29" fmla="*/ 31922 h 46"/>
              <a:gd name="T30" fmla="*/ 31417 w 86"/>
              <a:gd name="T31" fmla="*/ 24261 h 46"/>
              <a:gd name="T32" fmla="*/ 29719 w 86"/>
              <a:gd name="T33" fmla="*/ 17876 h 46"/>
              <a:gd name="T34" fmla="*/ 27172 w 86"/>
              <a:gd name="T35" fmla="*/ 11492 h 46"/>
              <a:gd name="T36" fmla="*/ 24624 w 86"/>
              <a:gd name="T37" fmla="*/ 7661 h 46"/>
              <a:gd name="T38" fmla="*/ 21652 w 86"/>
              <a:gd name="T39" fmla="*/ 3831 h 46"/>
              <a:gd name="T40" fmla="*/ 19530 w 86"/>
              <a:gd name="T41" fmla="*/ 1277 h 46"/>
              <a:gd name="T42" fmla="*/ 16558 w 86"/>
              <a:gd name="T43" fmla="*/ 0 h 46"/>
              <a:gd name="T44" fmla="*/ 14010 w 86"/>
              <a:gd name="T45" fmla="*/ 0 h 46"/>
              <a:gd name="T46" fmla="*/ 11039 w 86"/>
              <a:gd name="T47" fmla="*/ 1277 h 46"/>
              <a:gd name="T48" fmla="*/ 8067 w 86"/>
              <a:gd name="T49" fmla="*/ 3831 h 46"/>
              <a:gd name="T50" fmla="*/ 5944 w 86"/>
              <a:gd name="T51" fmla="*/ 7661 h 46"/>
              <a:gd name="T52" fmla="*/ 3396 w 86"/>
              <a:gd name="T53" fmla="*/ 12769 h 46"/>
              <a:gd name="T54" fmla="*/ 1698 w 86"/>
              <a:gd name="T55" fmla="*/ 19153 h 46"/>
              <a:gd name="T56" fmla="*/ 0 w 86"/>
              <a:gd name="T57" fmla="*/ 26815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4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55563 h 18"/>
              <a:gd name="T4" fmla="*/ 16790 w 59"/>
              <a:gd name="T5" fmla="*/ 55563 h 18"/>
              <a:gd name="T6" fmla="*/ 25400 w 59"/>
              <a:gd name="T7" fmla="*/ 18521 h 18"/>
              <a:gd name="T8" fmla="*/ 21956 w 59"/>
              <a:gd name="T9" fmla="*/ 15434 h 18"/>
              <a:gd name="T10" fmla="*/ 19373 w 59"/>
              <a:gd name="T11" fmla="*/ 12347 h 18"/>
              <a:gd name="T12" fmla="*/ 15929 w 59"/>
              <a:gd name="T13" fmla="*/ 15434 h 18"/>
              <a:gd name="T14" fmla="*/ 12485 w 59"/>
              <a:gd name="T15" fmla="*/ 18521 h 18"/>
              <a:gd name="T16" fmla="*/ 9471 w 59"/>
              <a:gd name="T17" fmla="*/ 18521 h 18"/>
              <a:gd name="T18" fmla="*/ 6027 w 59"/>
              <a:gd name="T19" fmla="*/ 15434 h 18"/>
              <a:gd name="T20" fmla="*/ 3014 w 59"/>
              <a:gd name="T21" fmla="*/ 123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5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1588 w 4"/>
              <a:gd name="T1" fmla="*/ 55562 h 19"/>
              <a:gd name="T2" fmla="*/ 1588 w 4"/>
              <a:gd name="T3" fmla="*/ 0 h 19"/>
              <a:gd name="T4" fmla="*/ 794 w 4"/>
              <a:gd name="T5" fmla="*/ 2924 h 19"/>
              <a:gd name="T6" fmla="*/ 397 w 4"/>
              <a:gd name="T7" fmla="*/ 8773 h 19"/>
              <a:gd name="T8" fmla="*/ 0 w 4"/>
              <a:gd name="T9" fmla="*/ 17546 h 19"/>
              <a:gd name="T10" fmla="*/ 0 w 4"/>
              <a:gd name="T11" fmla="*/ 29243 h 19"/>
              <a:gd name="T12" fmla="*/ 0 w 4"/>
              <a:gd name="T13" fmla="*/ 40940 h 19"/>
              <a:gd name="T14" fmla="*/ 397 w 4"/>
              <a:gd name="T15" fmla="*/ 46789 h 19"/>
              <a:gd name="T16" fmla="*/ 794 w 4"/>
              <a:gd name="T17" fmla="*/ 55562 h 19"/>
              <a:gd name="T18" fmla="*/ 1588 w 4"/>
              <a:gd name="T19" fmla="*/ 55562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6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58738 h 50"/>
              <a:gd name="T2" fmla="*/ 3141 w 46"/>
              <a:gd name="T3" fmla="*/ 0 h 50"/>
              <a:gd name="T4" fmla="*/ 10319 w 46"/>
              <a:gd name="T5" fmla="*/ 9398 h 50"/>
              <a:gd name="T6" fmla="*/ 15254 w 46"/>
              <a:gd name="T7" fmla="*/ 16447 h 50"/>
              <a:gd name="T8" fmla="*/ 16600 w 46"/>
              <a:gd name="T9" fmla="*/ 21146 h 50"/>
              <a:gd name="T10" fmla="*/ 18395 w 46"/>
              <a:gd name="T11" fmla="*/ 25845 h 50"/>
              <a:gd name="T12" fmla="*/ 19741 w 46"/>
              <a:gd name="T13" fmla="*/ 35243 h 50"/>
              <a:gd name="T14" fmla="*/ 20638 w 46"/>
              <a:gd name="T15" fmla="*/ 44641 h 50"/>
              <a:gd name="T16" fmla="*/ 15254 w 46"/>
              <a:gd name="T17" fmla="*/ 49340 h 50"/>
              <a:gd name="T18" fmla="*/ 9422 w 46"/>
              <a:gd name="T19" fmla="*/ 54039 h 50"/>
              <a:gd name="T20" fmla="*/ 3589 w 46"/>
              <a:gd name="T21" fmla="*/ 57563 h 50"/>
              <a:gd name="T22" fmla="*/ 0 w 46"/>
              <a:gd name="T23" fmla="*/ 58738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7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4570 w 66"/>
              <a:gd name="T3" fmla="*/ 0 h 80"/>
              <a:gd name="T4" fmla="*/ 8226 w 66"/>
              <a:gd name="T5" fmla="*/ 0 h 80"/>
              <a:gd name="T6" fmla="*/ 11882 w 66"/>
              <a:gd name="T7" fmla="*/ 0 h 80"/>
              <a:gd name="T8" fmla="*/ 15082 w 66"/>
              <a:gd name="T9" fmla="*/ 0 h 80"/>
              <a:gd name="T10" fmla="*/ 15082 w 66"/>
              <a:gd name="T11" fmla="*/ 5139 h 80"/>
              <a:gd name="T12" fmla="*/ 15539 w 66"/>
              <a:gd name="T13" fmla="*/ 10279 h 80"/>
              <a:gd name="T14" fmla="*/ 16453 w 66"/>
              <a:gd name="T15" fmla="*/ 15418 h 80"/>
              <a:gd name="T16" fmla="*/ 17367 w 66"/>
              <a:gd name="T17" fmla="*/ 19824 h 80"/>
              <a:gd name="T18" fmla="*/ 20109 w 66"/>
              <a:gd name="T19" fmla="*/ 26432 h 80"/>
              <a:gd name="T20" fmla="*/ 22394 w 66"/>
              <a:gd name="T21" fmla="*/ 33040 h 80"/>
              <a:gd name="T22" fmla="*/ 25593 w 66"/>
              <a:gd name="T23" fmla="*/ 38179 h 80"/>
              <a:gd name="T24" fmla="*/ 27878 w 66"/>
              <a:gd name="T25" fmla="*/ 44053 h 80"/>
              <a:gd name="T26" fmla="*/ 28335 w 66"/>
              <a:gd name="T27" fmla="*/ 47724 h 80"/>
              <a:gd name="T28" fmla="*/ 29706 w 66"/>
              <a:gd name="T29" fmla="*/ 50661 h 80"/>
              <a:gd name="T30" fmla="*/ 30163 w 66"/>
              <a:gd name="T31" fmla="*/ 55066 h 80"/>
              <a:gd name="T32" fmla="*/ 30163 w 66"/>
              <a:gd name="T33" fmla="*/ 58737 h 80"/>
              <a:gd name="T34" fmla="*/ 0 w 66"/>
              <a:gd name="T35" fmla="*/ 13216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8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7938 w 20"/>
              <a:gd name="T1" fmla="*/ 57150 h 48"/>
              <a:gd name="T2" fmla="*/ 7938 w 20"/>
              <a:gd name="T3" fmla="*/ 46434 h 48"/>
              <a:gd name="T4" fmla="*/ 7541 w 20"/>
              <a:gd name="T5" fmla="*/ 38100 h 48"/>
              <a:gd name="T6" fmla="*/ 6350 w 20"/>
              <a:gd name="T7" fmla="*/ 29766 h 48"/>
              <a:gd name="T8" fmla="*/ 5557 w 20"/>
              <a:gd name="T9" fmla="*/ 22622 h 48"/>
              <a:gd name="T10" fmla="*/ 4763 w 20"/>
              <a:gd name="T11" fmla="*/ 16669 h 48"/>
              <a:gd name="T12" fmla="*/ 3572 w 20"/>
              <a:gd name="T13" fmla="*/ 10716 h 48"/>
              <a:gd name="T14" fmla="*/ 1588 w 20"/>
              <a:gd name="T15" fmla="*/ 4763 h 48"/>
              <a:gd name="T16" fmla="*/ 0 w 20"/>
              <a:gd name="T17" fmla="*/ 0 h 48"/>
              <a:gd name="T18" fmla="*/ 0 w 20"/>
              <a:gd name="T19" fmla="*/ 9525 h 48"/>
              <a:gd name="T20" fmla="*/ 794 w 20"/>
              <a:gd name="T21" fmla="*/ 20241 h 48"/>
              <a:gd name="T22" fmla="*/ 1588 w 20"/>
              <a:gd name="T23" fmla="*/ 28575 h 48"/>
              <a:gd name="T24" fmla="*/ 3175 w 20"/>
              <a:gd name="T25" fmla="*/ 36909 h 48"/>
              <a:gd name="T26" fmla="*/ 5557 w 20"/>
              <a:gd name="T27" fmla="*/ 48816 h 48"/>
              <a:gd name="T28" fmla="*/ 7938 w 20"/>
              <a:gd name="T29" fmla="*/ 57150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9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0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7938 w 20"/>
              <a:gd name="T1" fmla="*/ 57150 h 12"/>
              <a:gd name="T2" fmla="*/ 7938 w 20"/>
              <a:gd name="T3" fmla="*/ 38100 h 12"/>
              <a:gd name="T4" fmla="*/ 7144 w 20"/>
              <a:gd name="T5" fmla="*/ 23813 h 12"/>
              <a:gd name="T6" fmla="*/ 5954 w 20"/>
              <a:gd name="T7" fmla="*/ 14288 h 12"/>
              <a:gd name="T8" fmla="*/ 5160 w 20"/>
              <a:gd name="T9" fmla="*/ 9525 h 12"/>
              <a:gd name="T10" fmla="*/ 2778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1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2935 w 53"/>
              <a:gd name="T1" fmla="*/ 0 h 30"/>
              <a:gd name="T2" fmla="*/ 4613 w 53"/>
              <a:gd name="T3" fmla="*/ 7620 h 30"/>
              <a:gd name="T4" fmla="*/ 9645 w 53"/>
              <a:gd name="T5" fmla="*/ 24765 h 30"/>
              <a:gd name="T6" fmla="*/ 15516 w 53"/>
              <a:gd name="T7" fmla="*/ 43815 h 30"/>
              <a:gd name="T8" fmla="*/ 19290 w 53"/>
              <a:gd name="T9" fmla="*/ 57150 h 30"/>
              <a:gd name="T10" fmla="*/ 20548 w 53"/>
              <a:gd name="T11" fmla="*/ 34290 h 30"/>
              <a:gd name="T12" fmla="*/ 22225 w 53"/>
              <a:gd name="T13" fmla="*/ 11430 h 30"/>
              <a:gd name="T14" fmla="*/ 15516 w 53"/>
              <a:gd name="T15" fmla="*/ 9525 h 30"/>
              <a:gd name="T16" fmla="*/ 10903 w 53"/>
              <a:gd name="T17" fmla="*/ 5715 h 30"/>
              <a:gd name="T18" fmla="*/ 8806 w 53"/>
              <a:gd name="T19" fmla="*/ 5715 h 30"/>
              <a:gd name="T20" fmla="*/ 6290 w 53"/>
              <a:gd name="T21" fmla="*/ 5715 h 30"/>
              <a:gd name="T22" fmla="*/ 3774 w 53"/>
              <a:gd name="T23" fmla="*/ 7620 h 30"/>
              <a:gd name="T24" fmla="*/ 0 w 53"/>
              <a:gd name="T25" fmla="*/ 11430 h 30"/>
              <a:gd name="T26" fmla="*/ 2935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2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11061 h 31"/>
              <a:gd name="T2" fmla="*/ 1347 w 33"/>
              <a:gd name="T3" fmla="*/ 38715 h 31"/>
              <a:gd name="T4" fmla="*/ 2357 w 33"/>
              <a:gd name="T5" fmla="*/ 57150 h 31"/>
              <a:gd name="T6" fmla="*/ 7408 w 33"/>
              <a:gd name="T7" fmla="*/ 57150 h 31"/>
              <a:gd name="T8" fmla="*/ 11112 w 33"/>
              <a:gd name="T9" fmla="*/ 57150 h 31"/>
              <a:gd name="T10" fmla="*/ 11112 w 33"/>
              <a:gd name="T11" fmla="*/ 0 h 31"/>
              <a:gd name="T12" fmla="*/ 9092 w 33"/>
              <a:gd name="T13" fmla="*/ 0 h 31"/>
              <a:gd name="T14" fmla="*/ 6398 w 33"/>
              <a:gd name="T15" fmla="*/ 0 h 31"/>
              <a:gd name="T16" fmla="*/ 3367 w 33"/>
              <a:gd name="T17" fmla="*/ 0 h 31"/>
              <a:gd name="T18" fmla="*/ 0 w 33"/>
              <a:gd name="T19" fmla="*/ 0 h 31"/>
              <a:gd name="T20" fmla="*/ 0 w 33"/>
              <a:gd name="T21" fmla="*/ 11061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3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8353 w 65"/>
              <a:gd name="T1" fmla="*/ 55563 h 68"/>
              <a:gd name="T2" fmla="*/ 7034 w 65"/>
              <a:gd name="T3" fmla="*/ 55563 h 68"/>
              <a:gd name="T4" fmla="*/ 6155 w 65"/>
              <a:gd name="T5" fmla="*/ 53929 h 68"/>
              <a:gd name="T6" fmla="*/ 4836 w 65"/>
              <a:gd name="T7" fmla="*/ 52295 h 68"/>
              <a:gd name="T8" fmla="*/ 3077 w 65"/>
              <a:gd name="T9" fmla="*/ 49843 h 68"/>
              <a:gd name="T10" fmla="*/ 1758 w 65"/>
              <a:gd name="T11" fmla="*/ 48209 h 68"/>
              <a:gd name="T12" fmla="*/ 879 w 65"/>
              <a:gd name="T13" fmla="*/ 44941 h 68"/>
              <a:gd name="T14" fmla="*/ 0 w 65"/>
              <a:gd name="T15" fmla="*/ 42489 h 68"/>
              <a:gd name="T16" fmla="*/ 0 w 65"/>
              <a:gd name="T17" fmla="*/ 40038 h 68"/>
              <a:gd name="T18" fmla="*/ 0 w 65"/>
              <a:gd name="T19" fmla="*/ 31050 h 68"/>
              <a:gd name="T20" fmla="*/ 879 w 65"/>
              <a:gd name="T21" fmla="*/ 23696 h 68"/>
              <a:gd name="T22" fmla="*/ 2198 w 65"/>
              <a:gd name="T23" fmla="*/ 17159 h 68"/>
              <a:gd name="T24" fmla="*/ 3957 w 65"/>
              <a:gd name="T25" fmla="*/ 11439 h 68"/>
              <a:gd name="T26" fmla="*/ 6594 w 65"/>
              <a:gd name="T27" fmla="*/ 6537 h 68"/>
              <a:gd name="T28" fmla="*/ 9672 w 65"/>
              <a:gd name="T29" fmla="*/ 3268 h 68"/>
              <a:gd name="T30" fmla="*/ 13188 w 65"/>
              <a:gd name="T31" fmla="*/ 1634 h 68"/>
              <a:gd name="T32" fmla="*/ 17145 w 65"/>
              <a:gd name="T33" fmla="*/ 0 h 68"/>
              <a:gd name="T34" fmla="*/ 22860 w 65"/>
              <a:gd name="T35" fmla="*/ 0 h 68"/>
              <a:gd name="T36" fmla="*/ 28575 w 65"/>
              <a:gd name="T37" fmla="*/ 0 h 68"/>
              <a:gd name="T38" fmla="*/ 28575 w 65"/>
              <a:gd name="T39" fmla="*/ 35135 h 68"/>
              <a:gd name="T40" fmla="*/ 24618 w 65"/>
              <a:gd name="T41" fmla="*/ 42489 h 68"/>
              <a:gd name="T42" fmla="*/ 19783 w 65"/>
              <a:gd name="T43" fmla="*/ 49843 h 68"/>
              <a:gd name="T44" fmla="*/ 17145 w 65"/>
              <a:gd name="T45" fmla="*/ 52295 h 68"/>
              <a:gd name="T46" fmla="*/ 14947 w 65"/>
              <a:gd name="T47" fmla="*/ 53929 h 68"/>
              <a:gd name="T48" fmla="*/ 11870 w 65"/>
              <a:gd name="T49" fmla="*/ 55563 h 68"/>
              <a:gd name="T50" fmla="*/ 8353 w 65"/>
              <a:gd name="T51" fmla="*/ 55563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4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220588 w 625"/>
              <a:gd name="T1" fmla="*/ 178843 h 694"/>
              <a:gd name="T2" fmla="*/ 212679 w 625"/>
              <a:gd name="T3" fmla="*/ 180966 h 694"/>
              <a:gd name="T4" fmla="*/ 210482 w 625"/>
              <a:gd name="T5" fmla="*/ 202724 h 694"/>
              <a:gd name="T6" fmla="*/ 226301 w 625"/>
              <a:gd name="T7" fmla="*/ 214399 h 694"/>
              <a:gd name="T8" fmla="*/ 234650 w 625"/>
              <a:gd name="T9" fmla="*/ 214930 h 694"/>
              <a:gd name="T10" fmla="*/ 241681 w 625"/>
              <a:gd name="T11" fmla="*/ 225013 h 694"/>
              <a:gd name="T12" fmla="*/ 246075 w 625"/>
              <a:gd name="T13" fmla="*/ 243587 h 694"/>
              <a:gd name="T14" fmla="*/ 251348 w 625"/>
              <a:gd name="T15" fmla="*/ 251548 h 694"/>
              <a:gd name="T16" fmla="*/ 258378 w 625"/>
              <a:gd name="T17" fmla="*/ 256324 h 694"/>
              <a:gd name="T18" fmla="*/ 269803 w 625"/>
              <a:gd name="T19" fmla="*/ 258447 h 694"/>
              <a:gd name="T20" fmla="*/ 274637 w 625"/>
              <a:gd name="T21" fmla="*/ 267999 h 694"/>
              <a:gd name="T22" fmla="*/ 274637 w 625"/>
              <a:gd name="T23" fmla="*/ 286043 h 694"/>
              <a:gd name="T24" fmla="*/ 271561 w 625"/>
              <a:gd name="T25" fmla="*/ 320007 h 694"/>
              <a:gd name="T26" fmla="*/ 268485 w 625"/>
              <a:gd name="T27" fmla="*/ 356625 h 694"/>
              <a:gd name="T28" fmla="*/ 246954 w 625"/>
              <a:gd name="T29" fmla="*/ 367769 h 694"/>
              <a:gd name="T30" fmla="*/ 236847 w 625"/>
              <a:gd name="T31" fmla="*/ 367769 h 694"/>
              <a:gd name="T32" fmla="*/ 173131 w 625"/>
              <a:gd name="T33" fmla="*/ 299310 h 694"/>
              <a:gd name="T34" fmla="*/ 174449 w 625"/>
              <a:gd name="T35" fmla="*/ 292942 h 694"/>
              <a:gd name="T36" fmla="*/ 173131 w 625"/>
              <a:gd name="T37" fmla="*/ 286043 h 694"/>
              <a:gd name="T38" fmla="*/ 148524 w 625"/>
              <a:gd name="T39" fmla="*/ 258978 h 694"/>
              <a:gd name="T40" fmla="*/ 134023 w 625"/>
              <a:gd name="T41" fmla="*/ 240403 h 694"/>
              <a:gd name="T42" fmla="*/ 128750 w 625"/>
              <a:gd name="T43" fmla="*/ 222360 h 694"/>
              <a:gd name="T44" fmla="*/ 127871 w 625"/>
              <a:gd name="T45" fmla="*/ 202194 h 694"/>
              <a:gd name="T46" fmla="*/ 125234 w 625"/>
              <a:gd name="T47" fmla="*/ 191049 h 694"/>
              <a:gd name="T48" fmla="*/ 117764 w 625"/>
              <a:gd name="T49" fmla="*/ 181497 h 694"/>
              <a:gd name="T50" fmla="*/ 105900 w 625"/>
              <a:gd name="T51" fmla="*/ 164514 h 694"/>
              <a:gd name="T52" fmla="*/ 98430 w 625"/>
              <a:gd name="T53" fmla="*/ 142756 h 694"/>
              <a:gd name="T54" fmla="*/ 93596 w 625"/>
              <a:gd name="T55" fmla="*/ 126305 h 694"/>
              <a:gd name="T56" fmla="*/ 83490 w 625"/>
              <a:gd name="T57" fmla="*/ 112507 h 694"/>
              <a:gd name="T58" fmla="*/ 65913 w 625"/>
              <a:gd name="T59" fmla="*/ 90748 h 694"/>
              <a:gd name="T60" fmla="*/ 59761 w 625"/>
              <a:gd name="T61" fmla="*/ 77481 h 694"/>
              <a:gd name="T62" fmla="*/ 49215 w 625"/>
              <a:gd name="T63" fmla="*/ 70051 h 694"/>
              <a:gd name="T64" fmla="*/ 35154 w 625"/>
              <a:gd name="T65" fmla="*/ 59968 h 694"/>
              <a:gd name="T66" fmla="*/ 21532 w 625"/>
              <a:gd name="T67" fmla="*/ 45109 h 694"/>
              <a:gd name="T68" fmla="*/ 10107 w 625"/>
              <a:gd name="T69" fmla="*/ 27065 h 694"/>
              <a:gd name="T70" fmla="*/ 2197 w 625"/>
              <a:gd name="T71" fmla="*/ 10083 h 694"/>
              <a:gd name="T72" fmla="*/ 4394 w 625"/>
              <a:gd name="T73" fmla="*/ 2123 h 694"/>
              <a:gd name="T74" fmla="*/ 16259 w 625"/>
              <a:gd name="T75" fmla="*/ 6899 h 694"/>
              <a:gd name="T76" fmla="*/ 36911 w 625"/>
              <a:gd name="T77" fmla="*/ 8491 h 694"/>
              <a:gd name="T78" fmla="*/ 50973 w 625"/>
              <a:gd name="T79" fmla="*/ 10614 h 694"/>
              <a:gd name="T80" fmla="*/ 60640 w 625"/>
              <a:gd name="T81" fmla="*/ 14329 h 694"/>
              <a:gd name="T82" fmla="*/ 68549 w 625"/>
              <a:gd name="T83" fmla="*/ 22289 h 694"/>
              <a:gd name="T84" fmla="*/ 89642 w 625"/>
              <a:gd name="T85" fmla="*/ 57845 h 694"/>
              <a:gd name="T86" fmla="*/ 111612 w 625"/>
              <a:gd name="T87" fmla="*/ 86503 h 694"/>
              <a:gd name="T88" fmla="*/ 131386 w 625"/>
              <a:gd name="T89" fmla="*/ 107200 h 694"/>
              <a:gd name="T90" fmla="*/ 144569 w 625"/>
              <a:gd name="T91" fmla="*/ 116221 h 694"/>
              <a:gd name="T92" fmla="*/ 160827 w 625"/>
              <a:gd name="T93" fmla="*/ 120467 h 694"/>
              <a:gd name="T94" fmla="*/ 170495 w 625"/>
              <a:gd name="T95" fmla="*/ 122059 h 694"/>
              <a:gd name="T96" fmla="*/ 176207 w 625"/>
              <a:gd name="T97" fmla="*/ 127897 h 694"/>
              <a:gd name="T98" fmla="*/ 182798 w 625"/>
              <a:gd name="T99" fmla="*/ 137980 h 694"/>
              <a:gd name="T100" fmla="*/ 187632 w 625"/>
              <a:gd name="T101" fmla="*/ 140633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5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224041 w 585"/>
              <a:gd name="T1" fmla="*/ 14606 h 493"/>
              <a:gd name="T2" fmla="*/ 214923 w 585"/>
              <a:gd name="T3" fmla="*/ 28691 h 493"/>
              <a:gd name="T4" fmla="*/ 222304 w 585"/>
              <a:gd name="T5" fmla="*/ 48514 h 493"/>
              <a:gd name="T6" fmla="*/ 231856 w 585"/>
              <a:gd name="T7" fmla="*/ 67815 h 493"/>
              <a:gd name="T8" fmla="*/ 248790 w 585"/>
              <a:gd name="T9" fmla="*/ 92333 h 493"/>
              <a:gd name="T10" fmla="*/ 251829 w 585"/>
              <a:gd name="T11" fmla="*/ 106939 h 493"/>
              <a:gd name="T12" fmla="*/ 237501 w 585"/>
              <a:gd name="T13" fmla="*/ 106417 h 493"/>
              <a:gd name="T14" fmla="*/ 224041 w 585"/>
              <a:gd name="T15" fmla="*/ 121545 h 493"/>
              <a:gd name="T16" fmla="*/ 219699 w 585"/>
              <a:gd name="T17" fmla="*/ 128327 h 493"/>
              <a:gd name="T18" fmla="*/ 224909 w 585"/>
              <a:gd name="T19" fmla="*/ 141368 h 493"/>
              <a:gd name="T20" fmla="*/ 227949 w 585"/>
              <a:gd name="T21" fmla="*/ 153366 h 493"/>
              <a:gd name="T22" fmla="*/ 219265 w 585"/>
              <a:gd name="T23" fmla="*/ 160669 h 493"/>
              <a:gd name="T24" fmla="*/ 199292 w 585"/>
              <a:gd name="T25" fmla="*/ 168494 h 493"/>
              <a:gd name="T26" fmla="*/ 192345 w 585"/>
              <a:gd name="T27" fmla="*/ 184665 h 493"/>
              <a:gd name="T28" fmla="*/ 193214 w 585"/>
              <a:gd name="T29" fmla="*/ 216486 h 493"/>
              <a:gd name="T30" fmla="*/ 186701 w 585"/>
              <a:gd name="T31" fmla="*/ 236831 h 493"/>
              <a:gd name="T32" fmla="*/ 173675 w 585"/>
              <a:gd name="T33" fmla="*/ 246220 h 493"/>
              <a:gd name="T34" fmla="*/ 160650 w 585"/>
              <a:gd name="T35" fmla="*/ 254567 h 493"/>
              <a:gd name="T36" fmla="*/ 148058 w 585"/>
              <a:gd name="T37" fmla="*/ 257175 h 493"/>
              <a:gd name="T38" fmla="*/ 142848 w 585"/>
              <a:gd name="T39" fmla="*/ 254045 h 493"/>
              <a:gd name="T40" fmla="*/ 141979 w 585"/>
              <a:gd name="T41" fmla="*/ 245699 h 493"/>
              <a:gd name="T42" fmla="*/ 131993 w 585"/>
              <a:gd name="T43" fmla="*/ 235266 h 493"/>
              <a:gd name="T44" fmla="*/ 108981 w 585"/>
              <a:gd name="T45" fmla="*/ 236831 h 493"/>
              <a:gd name="T46" fmla="*/ 95087 w 585"/>
              <a:gd name="T47" fmla="*/ 241004 h 493"/>
              <a:gd name="T48" fmla="*/ 76417 w 585"/>
              <a:gd name="T49" fmla="*/ 229527 h 493"/>
              <a:gd name="T50" fmla="*/ 52971 w 585"/>
              <a:gd name="T51" fmla="*/ 227441 h 493"/>
              <a:gd name="T52" fmla="*/ 41248 w 585"/>
              <a:gd name="T53" fmla="*/ 223789 h 493"/>
              <a:gd name="T54" fmla="*/ 35169 w 585"/>
              <a:gd name="T55" fmla="*/ 190925 h 493"/>
              <a:gd name="T56" fmla="*/ 25183 w 585"/>
              <a:gd name="T57" fmla="*/ 161712 h 493"/>
              <a:gd name="T58" fmla="*/ 15197 w 585"/>
              <a:gd name="T59" fmla="*/ 152323 h 493"/>
              <a:gd name="T60" fmla="*/ 5210 w 585"/>
              <a:gd name="T61" fmla="*/ 135630 h 493"/>
              <a:gd name="T62" fmla="*/ 2171 w 585"/>
              <a:gd name="T63" fmla="*/ 106417 h 493"/>
              <a:gd name="T64" fmla="*/ 13460 w 585"/>
              <a:gd name="T65" fmla="*/ 79813 h 493"/>
              <a:gd name="T66" fmla="*/ 23446 w 585"/>
              <a:gd name="T67" fmla="*/ 73553 h 493"/>
              <a:gd name="T68" fmla="*/ 32564 w 585"/>
              <a:gd name="T69" fmla="*/ 79291 h 493"/>
              <a:gd name="T70" fmla="*/ 42116 w 585"/>
              <a:gd name="T71" fmla="*/ 97549 h 493"/>
              <a:gd name="T72" fmla="*/ 56010 w 585"/>
              <a:gd name="T73" fmla="*/ 111634 h 493"/>
              <a:gd name="T74" fmla="*/ 73812 w 585"/>
              <a:gd name="T75" fmla="*/ 111112 h 493"/>
              <a:gd name="T76" fmla="*/ 95956 w 585"/>
              <a:gd name="T77" fmla="*/ 98592 h 493"/>
              <a:gd name="T78" fmla="*/ 101166 w 585"/>
              <a:gd name="T79" fmla="*/ 89724 h 493"/>
              <a:gd name="T80" fmla="*/ 125046 w 585"/>
              <a:gd name="T81" fmla="*/ 92854 h 493"/>
              <a:gd name="T82" fmla="*/ 141545 w 585"/>
              <a:gd name="T83" fmla="*/ 94419 h 493"/>
              <a:gd name="T84" fmla="*/ 146321 w 585"/>
              <a:gd name="T85" fmla="*/ 88681 h 493"/>
              <a:gd name="T86" fmla="*/ 157176 w 585"/>
              <a:gd name="T87" fmla="*/ 82421 h 493"/>
              <a:gd name="T88" fmla="*/ 166294 w 585"/>
              <a:gd name="T89" fmla="*/ 70945 h 493"/>
              <a:gd name="T90" fmla="*/ 180188 w 585"/>
              <a:gd name="T91" fmla="*/ 41211 h 493"/>
              <a:gd name="T92" fmla="*/ 185398 w 585"/>
              <a:gd name="T93" fmla="*/ 13041 h 493"/>
              <a:gd name="T94" fmla="*/ 194082 w 585"/>
              <a:gd name="T95" fmla="*/ 3130 h 493"/>
              <a:gd name="T96" fmla="*/ 207976 w 585"/>
              <a:gd name="T97" fmla="*/ 1043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6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57150 h 105"/>
              <a:gd name="T2" fmla="*/ 6949 w 212"/>
              <a:gd name="T3" fmla="*/ 46264 h 105"/>
              <a:gd name="T4" fmla="*/ 15201 w 212"/>
              <a:gd name="T5" fmla="*/ 37011 h 105"/>
              <a:gd name="T6" fmla="*/ 19110 w 212"/>
              <a:gd name="T7" fmla="*/ 32657 h 105"/>
              <a:gd name="T8" fmla="*/ 23453 w 212"/>
              <a:gd name="T9" fmla="*/ 28847 h 105"/>
              <a:gd name="T10" fmla="*/ 27796 w 212"/>
              <a:gd name="T11" fmla="*/ 25037 h 105"/>
              <a:gd name="T12" fmla="*/ 31705 w 212"/>
              <a:gd name="T13" fmla="*/ 20683 h 105"/>
              <a:gd name="T14" fmla="*/ 36048 w 212"/>
              <a:gd name="T15" fmla="*/ 17417 h 105"/>
              <a:gd name="T16" fmla="*/ 40826 w 212"/>
              <a:gd name="T17" fmla="*/ 14696 h 105"/>
              <a:gd name="T18" fmla="*/ 46038 w 212"/>
              <a:gd name="T19" fmla="*/ 11430 h 105"/>
              <a:gd name="T20" fmla="*/ 51249 w 212"/>
              <a:gd name="T21" fmla="*/ 8709 h 105"/>
              <a:gd name="T22" fmla="*/ 62542 w 212"/>
              <a:gd name="T23" fmla="*/ 4354 h 105"/>
              <a:gd name="T24" fmla="*/ 74702 w 212"/>
              <a:gd name="T25" fmla="*/ 0 h 105"/>
              <a:gd name="T26" fmla="*/ 92075 w 212"/>
              <a:gd name="T27" fmla="*/ 0 h 105"/>
              <a:gd name="T28" fmla="*/ 87732 w 212"/>
              <a:gd name="T29" fmla="*/ 4899 h 105"/>
              <a:gd name="T30" fmla="*/ 82520 w 212"/>
              <a:gd name="T31" fmla="*/ 9797 h 105"/>
              <a:gd name="T32" fmla="*/ 77308 w 212"/>
              <a:gd name="T33" fmla="*/ 14696 h 105"/>
              <a:gd name="T34" fmla="*/ 71662 w 212"/>
              <a:gd name="T35" fmla="*/ 19050 h 105"/>
              <a:gd name="T36" fmla="*/ 59501 w 212"/>
              <a:gd name="T37" fmla="*/ 28303 h 105"/>
              <a:gd name="T38" fmla="*/ 47340 w 212"/>
              <a:gd name="T39" fmla="*/ 35923 h 105"/>
              <a:gd name="T40" fmla="*/ 34311 w 212"/>
              <a:gd name="T41" fmla="*/ 42999 h 105"/>
              <a:gd name="T42" fmla="*/ 21716 w 212"/>
              <a:gd name="T43" fmla="*/ 48986 h 105"/>
              <a:gd name="T44" fmla="*/ 9989 w 212"/>
              <a:gd name="T45" fmla="*/ 53884 h 105"/>
              <a:gd name="T46" fmla="*/ 0 w 212"/>
              <a:gd name="T47" fmla="*/ 57150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7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43379 h 166"/>
              <a:gd name="T2" fmla="*/ 0 w 92"/>
              <a:gd name="T3" fmla="*/ 79260 h 166"/>
              <a:gd name="T4" fmla="*/ 2329 w 92"/>
              <a:gd name="T5" fmla="*/ 77118 h 166"/>
              <a:gd name="T6" fmla="*/ 5591 w 92"/>
              <a:gd name="T7" fmla="*/ 74440 h 166"/>
              <a:gd name="T8" fmla="*/ 6522 w 92"/>
              <a:gd name="T9" fmla="*/ 73369 h 166"/>
              <a:gd name="T10" fmla="*/ 7920 w 92"/>
              <a:gd name="T11" fmla="*/ 72298 h 166"/>
              <a:gd name="T12" fmla="*/ 8386 w 92"/>
              <a:gd name="T13" fmla="*/ 70692 h 166"/>
              <a:gd name="T14" fmla="*/ 8852 w 92"/>
              <a:gd name="T15" fmla="*/ 69620 h 166"/>
              <a:gd name="T16" fmla="*/ 9318 w 92"/>
              <a:gd name="T17" fmla="*/ 73905 h 166"/>
              <a:gd name="T18" fmla="*/ 11181 w 92"/>
              <a:gd name="T19" fmla="*/ 79260 h 166"/>
              <a:gd name="T20" fmla="*/ 12579 w 92"/>
              <a:gd name="T21" fmla="*/ 82473 h 166"/>
              <a:gd name="T22" fmla="*/ 13977 w 92"/>
              <a:gd name="T23" fmla="*/ 85151 h 166"/>
              <a:gd name="T24" fmla="*/ 16306 w 92"/>
              <a:gd name="T25" fmla="*/ 87293 h 166"/>
              <a:gd name="T26" fmla="*/ 18170 w 92"/>
              <a:gd name="T27" fmla="*/ 88900 h 166"/>
              <a:gd name="T28" fmla="*/ 19102 w 92"/>
              <a:gd name="T29" fmla="*/ 84616 h 166"/>
              <a:gd name="T30" fmla="*/ 19102 w 92"/>
              <a:gd name="T31" fmla="*/ 79260 h 166"/>
              <a:gd name="T32" fmla="*/ 19102 w 92"/>
              <a:gd name="T33" fmla="*/ 73369 h 166"/>
              <a:gd name="T34" fmla="*/ 19102 w 92"/>
              <a:gd name="T35" fmla="*/ 67478 h 166"/>
              <a:gd name="T36" fmla="*/ 18636 w 92"/>
              <a:gd name="T37" fmla="*/ 57303 h 166"/>
              <a:gd name="T38" fmla="*/ 18170 w 92"/>
              <a:gd name="T39" fmla="*/ 53019 h 166"/>
              <a:gd name="T40" fmla="*/ 22363 w 92"/>
              <a:gd name="T41" fmla="*/ 53554 h 166"/>
              <a:gd name="T42" fmla="*/ 26556 w 92"/>
              <a:gd name="T43" fmla="*/ 54625 h 166"/>
              <a:gd name="T44" fmla="*/ 29817 w 92"/>
              <a:gd name="T45" fmla="*/ 56232 h 166"/>
              <a:gd name="T46" fmla="*/ 33078 w 92"/>
              <a:gd name="T47" fmla="*/ 57839 h 166"/>
              <a:gd name="T48" fmla="*/ 35408 w 92"/>
              <a:gd name="T49" fmla="*/ 59445 h 166"/>
              <a:gd name="T50" fmla="*/ 38203 w 92"/>
              <a:gd name="T51" fmla="*/ 61052 h 166"/>
              <a:gd name="T52" fmla="*/ 40533 w 92"/>
              <a:gd name="T53" fmla="*/ 62123 h 166"/>
              <a:gd name="T54" fmla="*/ 42862 w 92"/>
              <a:gd name="T55" fmla="*/ 63194 h 166"/>
              <a:gd name="T56" fmla="*/ 39601 w 92"/>
              <a:gd name="T57" fmla="*/ 55161 h 166"/>
              <a:gd name="T58" fmla="*/ 37737 w 92"/>
              <a:gd name="T59" fmla="*/ 47663 h 166"/>
              <a:gd name="T60" fmla="*/ 35408 w 92"/>
              <a:gd name="T61" fmla="*/ 40166 h 166"/>
              <a:gd name="T62" fmla="*/ 34010 w 92"/>
              <a:gd name="T63" fmla="*/ 32133 h 166"/>
              <a:gd name="T64" fmla="*/ 32612 w 92"/>
              <a:gd name="T65" fmla="*/ 25170 h 166"/>
              <a:gd name="T66" fmla="*/ 31215 w 92"/>
              <a:gd name="T67" fmla="*/ 18208 h 166"/>
              <a:gd name="T68" fmla="*/ 29351 w 92"/>
              <a:gd name="T69" fmla="*/ 12317 h 166"/>
              <a:gd name="T70" fmla="*/ 27488 w 92"/>
              <a:gd name="T71" fmla="*/ 6962 h 166"/>
              <a:gd name="T72" fmla="*/ 27488 w 92"/>
              <a:gd name="T73" fmla="*/ 10175 h 166"/>
              <a:gd name="T74" fmla="*/ 27488 w 92"/>
              <a:gd name="T75" fmla="*/ 13389 h 166"/>
              <a:gd name="T76" fmla="*/ 23295 w 92"/>
              <a:gd name="T77" fmla="*/ 12317 h 166"/>
              <a:gd name="T78" fmla="*/ 19567 w 92"/>
              <a:gd name="T79" fmla="*/ 10175 h 166"/>
              <a:gd name="T80" fmla="*/ 16306 w 92"/>
              <a:gd name="T81" fmla="*/ 8033 h 166"/>
              <a:gd name="T82" fmla="*/ 13511 w 92"/>
              <a:gd name="T83" fmla="*/ 5891 h 166"/>
              <a:gd name="T84" fmla="*/ 10716 w 92"/>
              <a:gd name="T85" fmla="*/ 3749 h 166"/>
              <a:gd name="T86" fmla="*/ 7454 w 92"/>
              <a:gd name="T87" fmla="*/ 1607 h 166"/>
              <a:gd name="T88" fmla="*/ 3727 w 92"/>
              <a:gd name="T89" fmla="*/ 536 h 166"/>
              <a:gd name="T90" fmla="*/ 0 w 92"/>
              <a:gd name="T91" fmla="*/ 0 h 166"/>
              <a:gd name="T92" fmla="*/ 0 w 92"/>
              <a:gd name="T93" fmla="*/ 5355 h 166"/>
              <a:gd name="T94" fmla="*/ 0 w 92"/>
              <a:gd name="T95" fmla="*/ 10175 h 166"/>
              <a:gd name="T96" fmla="*/ 0 w 92"/>
              <a:gd name="T97" fmla="*/ 17673 h 166"/>
              <a:gd name="T98" fmla="*/ 0 w 92"/>
              <a:gd name="T99" fmla="*/ 27848 h 166"/>
              <a:gd name="T100" fmla="*/ 0 w 92"/>
              <a:gd name="T101" fmla="*/ 37488 h 166"/>
              <a:gd name="T102" fmla="*/ 0 w 92"/>
              <a:gd name="T103" fmla="*/ 43379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8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3012 w 166"/>
              <a:gd name="T1" fmla="*/ 0 h 62"/>
              <a:gd name="T2" fmla="*/ 6025 w 166"/>
              <a:gd name="T3" fmla="*/ 2688 h 62"/>
              <a:gd name="T4" fmla="*/ 9468 w 166"/>
              <a:gd name="T5" fmla="*/ 5377 h 62"/>
              <a:gd name="T6" fmla="*/ 12910 w 166"/>
              <a:gd name="T7" fmla="*/ 6273 h 62"/>
              <a:gd name="T8" fmla="*/ 15492 w 166"/>
              <a:gd name="T9" fmla="*/ 7169 h 62"/>
              <a:gd name="T10" fmla="*/ 20656 w 166"/>
              <a:gd name="T11" fmla="*/ 7169 h 62"/>
              <a:gd name="T12" fmla="*/ 24960 w 166"/>
              <a:gd name="T13" fmla="*/ 6273 h 62"/>
              <a:gd name="T14" fmla="*/ 29694 w 166"/>
              <a:gd name="T15" fmla="*/ 4481 h 62"/>
              <a:gd name="T16" fmla="*/ 34427 w 166"/>
              <a:gd name="T17" fmla="*/ 2688 h 62"/>
              <a:gd name="T18" fmla="*/ 39592 w 166"/>
              <a:gd name="T19" fmla="*/ 896 h 62"/>
              <a:gd name="T20" fmla="*/ 45616 w 166"/>
              <a:gd name="T21" fmla="*/ 0 h 62"/>
              <a:gd name="T22" fmla="*/ 47768 w 166"/>
              <a:gd name="T23" fmla="*/ 896 h 62"/>
              <a:gd name="T24" fmla="*/ 49489 w 166"/>
              <a:gd name="T25" fmla="*/ 1792 h 62"/>
              <a:gd name="T26" fmla="*/ 51641 w 166"/>
              <a:gd name="T27" fmla="*/ 4481 h 62"/>
              <a:gd name="T28" fmla="*/ 53363 w 166"/>
              <a:gd name="T29" fmla="*/ 7169 h 62"/>
              <a:gd name="T30" fmla="*/ 56805 w 166"/>
              <a:gd name="T31" fmla="*/ 15235 h 62"/>
              <a:gd name="T32" fmla="*/ 59387 w 166"/>
              <a:gd name="T33" fmla="*/ 23300 h 62"/>
              <a:gd name="T34" fmla="*/ 62400 w 166"/>
              <a:gd name="T35" fmla="*/ 32262 h 62"/>
              <a:gd name="T36" fmla="*/ 64982 w 166"/>
              <a:gd name="T37" fmla="*/ 40327 h 62"/>
              <a:gd name="T38" fmla="*/ 66703 w 166"/>
              <a:gd name="T39" fmla="*/ 43912 h 62"/>
              <a:gd name="T40" fmla="*/ 67994 w 166"/>
              <a:gd name="T41" fmla="*/ 46600 h 62"/>
              <a:gd name="T42" fmla="*/ 69716 w 166"/>
              <a:gd name="T43" fmla="*/ 48393 h 62"/>
              <a:gd name="T44" fmla="*/ 71437 w 166"/>
              <a:gd name="T45" fmla="*/ 50185 h 62"/>
              <a:gd name="T46" fmla="*/ 68425 w 166"/>
              <a:gd name="T47" fmla="*/ 51081 h 62"/>
              <a:gd name="T48" fmla="*/ 64982 w 166"/>
              <a:gd name="T49" fmla="*/ 52874 h 62"/>
              <a:gd name="T50" fmla="*/ 61539 w 166"/>
              <a:gd name="T51" fmla="*/ 54666 h 62"/>
              <a:gd name="T52" fmla="*/ 57236 w 166"/>
              <a:gd name="T53" fmla="*/ 55562 h 62"/>
              <a:gd name="T54" fmla="*/ 53793 w 166"/>
              <a:gd name="T55" fmla="*/ 54666 h 62"/>
              <a:gd name="T56" fmla="*/ 51211 w 166"/>
              <a:gd name="T57" fmla="*/ 51977 h 62"/>
              <a:gd name="T58" fmla="*/ 48198 w 166"/>
              <a:gd name="T59" fmla="*/ 48393 h 62"/>
              <a:gd name="T60" fmla="*/ 45616 w 166"/>
              <a:gd name="T61" fmla="*/ 44808 h 62"/>
              <a:gd name="T62" fmla="*/ 43034 w 166"/>
              <a:gd name="T63" fmla="*/ 40327 h 62"/>
              <a:gd name="T64" fmla="*/ 40022 w 166"/>
              <a:gd name="T65" fmla="*/ 36743 h 62"/>
              <a:gd name="T66" fmla="*/ 37440 w 166"/>
              <a:gd name="T67" fmla="*/ 34950 h 62"/>
              <a:gd name="T68" fmla="*/ 33997 w 166"/>
              <a:gd name="T69" fmla="*/ 34054 h 62"/>
              <a:gd name="T70" fmla="*/ 24099 w 166"/>
              <a:gd name="T71" fmla="*/ 34054 h 62"/>
              <a:gd name="T72" fmla="*/ 15062 w 166"/>
              <a:gd name="T73" fmla="*/ 34950 h 62"/>
              <a:gd name="T74" fmla="*/ 11189 w 166"/>
              <a:gd name="T75" fmla="*/ 36743 h 62"/>
              <a:gd name="T76" fmla="*/ 8177 w 166"/>
              <a:gd name="T77" fmla="*/ 38535 h 62"/>
              <a:gd name="T78" fmla="*/ 5164 w 166"/>
              <a:gd name="T79" fmla="*/ 41223 h 62"/>
              <a:gd name="T80" fmla="*/ 3012 w 166"/>
              <a:gd name="T81" fmla="*/ 44808 h 62"/>
              <a:gd name="T82" fmla="*/ 861 w 166"/>
              <a:gd name="T83" fmla="*/ 40327 h 62"/>
              <a:gd name="T84" fmla="*/ 430 w 166"/>
              <a:gd name="T85" fmla="*/ 35846 h 62"/>
              <a:gd name="T86" fmla="*/ 0 w 166"/>
              <a:gd name="T87" fmla="*/ 30469 h 62"/>
              <a:gd name="T88" fmla="*/ 430 w 166"/>
              <a:gd name="T89" fmla="*/ 25093 h 62"/>
              <a:gd name="T90" fmla="*/ 1721 w 166"/>
              <a:gd name="T91" fmla="*/ 13442 h 62"/>
              <a:gd name="T92" fmla="*/ 3012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9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14658 w 193"/>
              <a:gd name="T1" fmla="*/ 18368 h 121"/>
              <a:gd name="T2" fmla="*/ 21320 w 193"/>
              <a:gd name="T3" fmla="*/ 13120 h 121"/>
              <a:gd name="T4" fmla="*/ 30204 w 193"/>
              <a:gd name="T5" fmla="*/ 6298 h 121"/>
              <a:gd name="T6" fmla="*/ 37310 w 193"/>
              <a:gd name="T7" fmla="*/ 2099 h 121"/>
              <a:gd name="T8" fmla="*/ 41752 w 193"/>
              <a:gd name="T9" fmla="*/ 525 h 121"/>
              <a:gd name="T10" fmla="*/ 46638 w 193"/>
              <a:gd name="T11" fmla="*/ 525 h 121"/>
              <a:gd name="T12" fmla="*/ 51524 w 193"/>
              <a:gd name="T13" fmla="*/ 1574 h 121"/>
              <a:gd name="T14" fmla="*/ 58186 w 193"/>
              <a:gd name="T15" fmla="*/ 5248 h 121"/>
              <a:gd name="T16" fmla="*/ 65737 w 193"/>
              <a:gd name="T17" fmla="*/ 11021 h 121"/>
              <a:gd name="T18" fmla="*/ 71956 w 193"/>
              <a:gd name="T19" fmla="*/ 14694 h 121"/>
              <a:gd name="T20" fmla="*/ 76842 w 193"/>
              <a:gd name="T21" fmla="*/ 15744 h 121"/>
              <a:gd name="T22" fmla="*/ 79507 w 193"/>
              <a:gd name="T23" fmla="*/ 25190 h 121"/>
              <a:gd name="T24" fmla="*/ 79062 w 193"/>
              <a:gd name="T25" fmla="*/ 34636 h 121"/>
              <a:gd name="T26" fmla="*/ 80839 w 193"/>
              <a:gd name="T27" fmla="*/ 39360 h 121"/>
              <a:gd name="T28" fmla="*/ 83060 w 193"/>
              <a:gd name="T29" fmla="*/ 46707 h 121"/>
              <a:gd name="T30" fmla="*/ 83504 w 193"/>
              <a:gd name="T31" fmla="*/ 53529 h 121"/>
              <a:gd name="T32" fmla="*/ 84837 w 193"/>
              <a:gd name="T33" fmla="*/ 57202 h 121"/>
              <a:gd name="T34" fmla="*/ 83504 w 193"/>
              <a:gd name="T35" fmla="*/ 59826 h 121"/>
              <a:gd name="T36" fmla="*/ 78618 w 193"/>
              <a:gd name="T37" fmla="*/ 61926 h 121"/>
              <a:gd name="T38" fmla="*/ 70623 w 193"/>
              <a:gd name="T39" fmla="*/ 63500 h 121"/>
              <a:gd name="T40" fmla="*/ 51524 w 193"/>
              <a:gd name="T41" fmla="*/ 62450 h 121"/>
              <a:gd name="T42" fmla="*/ 31980 w 193"/>
              <a:gd name="T43" fmla="*/ 60876 h 121"/>
              <a:gd name="T44" fmla="*/ 27983 w 193"/>
              <a:gd name="T45" fmla="*/ 57727 h 121"/>
              <a:gd name="T46" fmla="*/ 24874 w 193"/>
              <a:gd name="T47" fmla="*/ 52479 h 121"/>
              <a:gd name="T48" fmla="*/ 23985 w 193"/>
              <a:gd name="T49" fmla="*/ 45657 h 121"/>
              <a:gd name="T50" fmla="*/ 20876 w 193"/>
              <a:gd name="T51" fmla="*/ 41459 h 121"/>
              <a:gd name="T52" fmla="*/ 13769 w 193"/>
              <a:gd name="T53" fmla="*/ 39360 h 121"/>
              <a:gd name="T54" fmla="*/ 5774 w 193"/>
              <a:gd name="T55" fmla="*/ 36211 h 121"/>
              <a:gd name="T56" fmla="*/ 1333 w 193"/>
              <a:gd name="T57" fmla="*/ 32537 h 121"/>
              <a:gd name="T58" fmla="*/ 0 w 193"/>
              <a:gd name="T59" fmla="*/ 30438 h 121"/>
              <a:gd name="T60" fmla="*/ 444 w 193"/>
              <a:gd name="T61" fmla="*/ 26764 h 121"/>
              <a:gd name="T62" fmla="*/ 3109 w 193"/>
              <a:gd name="T63" fmla="*/ 23616 h 121"/>
              <a:gd name="T64" fmla="*/ 8883 w 193"/>
              <a:gd name="T65" fmla="*/ 19942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0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16273 w 379"/>
              <a:gd name="T1" fmla="*/ 220707 h 437"/>
              <a:gd name="T2" fmla="*/ 20231 w 379"/>
              <a:gd name="T3" fmla="*/ 214386 h 437"/>
              <a:gd name="T4" fmla="*/ 10555 w 379"/>
              <a:gd name="T5" fmla="*/ 163818 h 437"/>
              <a:gd name="T6" fmla="*/ 880 w 379"/>
              <a:gd name="T7" fmla="*/ 154863 h 437"/>
              <a:gd name="T8" fmla="*/ 6597 w 379"/>
              <a:gd name="T9" fmla="*/ 142221 h 437"/>
              <a:gd name="T10" fmla="*/ 13634 w 379"/>
              <a:gd name="T11" fmla="*/ 116411 h 437"/>
              <a:gd name="T12" fmla="*/ 17152 w 379"/>
              <a:gd name="T13" fmla="*/ 90600 h 437"/>
              <a:gd name="T14" fmla="*/ 25069 w 379"/>
              <a:gd name="T15" fmla="*/ 83753 h 437"/>
              <a:gd name="T16" fmla="*/ 28587 w 379"/>
              <a:gd name="T17" fmla="*/ 68477 h 437"/>
              <a:gd name="T18" fmla="*/ 33425 w 379"/>
              <a:gd name="T19" fmla="*/ 41086 h 437"/>
              <a:gd name="T20" fmla="*/ 39583 w 379"/>
              <a:gd name="T21" fmla="*/ 26864 h 437"/>
              <a:gd name="T22" fmla="*/ 50578 w 379"/>
              <a:gd name="T23" fmla="*/ 16329 h 437"/>
              <a:gd name="T24" fmla="*/ 67291 w 379"/>
              <a:gd name="T25" fmla="*/ 13169 h 437"/>
              <a:gd name="T26" fmla="*/ 95438 w 379"/>
              <a:gd name="T27" fmla="*/ 20016 h 437"/>
              <a:gd name="T28" fmla="*/ 115230 w 379"/>
              <a:gd name="T29" fmla="*/ 25284 h 437"/>
              <a:gd name="T30" fmla="*/ 133262 w 379"/>
              <a:gd name="T31" fmla="*/ 23704 h 437"/>
              <a:gd name="T32" fmla="*/ 144697 w 379"/>
              <a:gd name="T33" fmla="*/ 16329 h 437"/>
              <a:gd name="T34" fmla="*/ 156571 w 379"/>
              <a:gd name="T35" fmla="*/ 3687 h 437"/>
              <a:gd name="T36" fmla="*/ 164488 w 379"/>
              <a:gd name="T37" fmla="*/ 4741 h 437"/>
              <a:gd name="T38" fmla="*/ 163608 w 379"/>
              <a:gd name="T39" fmla="*/ 18436 h 437"/>
              <a:gd name="T40" fmla="*/ 144697 w 379"/>
              <a:gd name="T41" fmla="*/ 42140 h 437"/>
              <a:gd name="T42" fmla="*/ 128424 w 379"/>
              <a:gd name="T43" fmla="*/ 51094 h 437"/>
              <a:gd name="T44" fmla="*/ 119188 w 379"/>
              <a:gd name="T45" fmla="*/ 49514 h 437"/>
              <a:gd name="T46" fmla="*/ 104674 w 379"/>
              <a:gd name="T47" fmla="*/ 36345 h 437"/>
              <a:gd name="T48" fmla="*/ 93239 w 379"/>
              <a:gd name="T49" fmla="*/ 29498 h 437"/>
              <a:gd name="T50" fmla="*/ 77846 w 379"/>
              <a:gd name="T51" fmla="*/ 29498 h 437"/>
              <a:gd name="T52" fmla="*/ 60693 w 379"/>
              <a:gd name="T53" fmla="*/ 32132 h 437"/>
              <a:gd name="T54" fmla="*/ 50138 w 379"/>
              <a:gd name="T55" fmla="*/ 41613 h 437"/>
              <a:gd name="T56" fmla="*/ 34745 w 379"/>
              <a:gd name="T57" fmla="*/ 84806 h 437"/>
              <a:gd name="T58" fmla="*/ 52337 w 379"/>
              <a:gd name="T59" fmla="*/ 89020 h 437"/>
              <a:gd name="T60" fmla="*/ 58494 w 379"/>
              <a:gd name="T61" fmla="*/ 100608 h 437"/>
              <a:gd name="T62" fmla="*/ 68170 w 379"/>
              <a:gd name="T63" fmla="*/ 88493 h 437"/>
              <a:gd name="T64" fmla="*/ 75647 w 379"/>
              <a:gd name="T65" fmla="*/ 80592 h 437"/>
              <a:gd name="T66" fmla="*/ 97197 w 379"/>
              <a:gd name="T67" fmla="*/ 79012 h 437"/>
              <a:gd name="T68" fmla="*/ 109952 w 379"/>
              <a:gd name="T69" fmla="*/ 77432 h 437"/>
              <a:gd name="T70" fmla="*/ 120067 w 379"/>
              <a:gd name="T71" fmla="*/ 91127 h 437"/>
              <a:gd name="T72" fmla="*/ 122706 w 379"/>
              <a:gd name="T73" fmla="*/ 106929 h 437"/>
              <a:gd name="T74" fmla="*/ 108193 w 379"/>
              <a:gd name="T75" fmla="*/ 101135 h 437"/>
              <a:gd name="T76" fmla="*/ 95878 w 379"/>
              <a:gd name="T77" fmla="*/ 97448 h 437"/>
              <a:gd name="T78" fmla="*/ 84443 w 379"/>
              <a:gd name="T79" fmla="*/ 102715 h 437"/>
              <a:gd name="T80" fmla="*/ 81804 w 379"/>
              <a:gd name="T81" fmla="*/ 110090 h 437"/>
              <a:gd name="T82" fmla="*/ 84443 w 379"/>
              <a:gd name="T83" fmla="*/ 122732 h 437"/>
              <a:gd name="T84" fmla="*/ 96758 w 379"/>
              <a:gd name="T85" fmla="*/ 143275 h 437"/>
              <a:gd name="T86" fmla="*/ 98957 w 379"/>
              <a:gd name="T87" fmla="*/ 155917 h 437"/>
              <a:gd name="T88" fmla="*/ 94559 w 379"/>
              <a:gd name="T89" fmla="*/ 169612 h 437"/>
              <a:gd name="T90" fmla="*/ 90161 w 379"/>
              <a:gd name="T91" fmla="*/ 181727 h 437"/>
              <a:gd name="T92" fmla="*/ 92360 w 379"/>
              <a:gd name="T93" fmla="*/ 187522 h 437"/>
              <a:gd name="T94" fmla="*/ 103795 w 379"/>
              <a:gd name="T95" fmla="*/ 193843 h 437"/>
              <a:gd name="T96" fmla="*/ 110831 w 379"/>
              <a:gd name="T97" fmla="*/ 210698 h 437"/>
              <a:gd name="T98" fmla="*/ 105114 w 379"/>
              <a:gd name="T99" fmla="*/ 225974 h 437"/>
              <a:gd name="T100" fmla="*/ 97197 w 379"/>
              <a:gd name="T101" fmla="*/ 221760 h 437"/>
              <a:gd name="T102" fmla="*/ 88841 w 379"/>
              <a:gd name="T103" fmla="*/ 219653 h 437"/>
              <a:gd name="T104" fmla="*/ 77846 w 379"/>
              <a:gd name="T105" fmla="*/ 210698 h 437"/>
              <a:gd name="T106" fmla="*/ 67291 w 379"/>
              <a:gd name="T107" fmla="*/ 187522 h 437"/>
              <a:gd name="T108" fmla="*/ 60254 w 379"/>
              <a:gd name="T109" fmla="*/ 160131 h 437"/>
              <a:gd name="T110" fmla="*/ 50138 w 379"/>
              <a:gd name="T111" fmla="*/ 138534 h 437"/>
              <a:gd name="T112" fmla="*/ 42661 w 379"/>
              <a:gd name="T113" fmla="*/ 136427 h 437"/>
              <a:gd name="T114" fmla="*/ 46180 w 379"/>
              <a:gd name="T115" fmla="*/ 200690 h 437"/>
              <a:gd name="T116" fmla="*/ 40902 w 379"/>
              <a:gd name="T117" fmla="*/ 212805 h 437"/>
              <a:gd name="T118" fmla="*/ 25069 w 379"/>
              <a:gd name="T119" fmla="*/ 224394 h 437"/>
              <a:gd name="T120" fmla="*/ 25949 w 379"/>
              <a:gd name="T121" fmla="*/ 230188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1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4773 w 578"/>
              <a:gd name="T1" fmla="*/ 25883 h 184"/>
              <a:gd name="T2" fmla="*/ 10415 w 578"/>
              <a:gd name="T3" fmla="*/ 16565 h 184"/>
              <a:gd name="T4" fmla="*/ 17792 w 578"/>
              <a:gd name="T5" fmla="*/ 3624 h 184"/>
              <a:gd name="T6" fmla="*/ 23433 w 578"/>
              <a:gd name="T7" fmla="*/ 0 h 184"/>
              <a:gd name="T8" fmla="*/ 34282 w 578"/>
              <a:gd name="T9" fmla="*/ 1035 h 184"/>
              <a:gd name="T10" fmla="*/ 41226 w 578"/>
              <a:gd name="T11" fmla="*/ 1035 h 184"/>
              <a:gd name="T12" fmla="*/ 43829 w 578"/>
              <a:gd name="T13" fmla="*/ 2588 h 184"/>
              <a:gd name="T14" fmla="*/ 49905 w 578"/>
              <a:gd name="T15" fmla="*/ 7765 h 184"/>
              <a:gd name="T16" fmla="*/ 63791 w 578"/>
              <a:gd name="T17" fmla="*/ 13977 h 184"/>
              <a:gd name="T18" fmla="*/ 72904 w 578"/>
              <a:gd name="T19" fmla="*/ 19154 h 184"/>
              <a:gd name="T20" fmla="*/ 77244 w 578"/>
              <a:gd name="T21" fmla="*/ 27436 h 184"/>
              <a:gd name="T22" fmla="*/ 83319 w 578"/>
              <a:gd name="T23" fmla="*/ 31577 h 184"/>
              <a:gd name="T24" fmla="*/ 100243 w 578"/>
              <a:gd name="T25" fmla="*/ 31060 h 184"/>
              <a:gd name="T26" fmla="*/ 120205 w 578"/>
              <a:gd name="T27" fmla="*/ 26401 h 184"/>
              <a:gd name="T28" fmla="*/ 129752 w 578"/>
              <a:gd name="T29" fmla="*/ 20189 h 184"/>
              <a:gd name="T30" fmla="*/ 136261 w 578"/>
              <a:gd name="T31" fmla="*/ 17601 h 184"/>
              <a:gd name="T32" fmla="*/ 141903 w 578"/>
              <a:gd name="T33" fmla="*/ 18118 h 184"/>
              <a:gd name="T34" fmla="*/ 147110 w 578"/>
              <a:gd name="T35" fmla="*/ 16048 h 184"/>
              <a:gd name="T36" fmla="*/ 158827 w 578"/>
              <a:gd name="T37" fmla="*/ 17601 h 184"/>
              <a:gd name="T38" fmla="*/ 173147 w 578"/>
              <a:gd name="T39" fmla="*/ 30542 h 184"/>
              <a:gd name="T40" fmla="*/ 185732 w 578"/>
              <a:gd name="T41" fmla="*/ 46072 h 184"/>
              <a:gd name="T42" fmla="*/ 197883 w 578"/>
              <a:gd name="T43" fmla="*/ 54355 h 184"/>
              <a:gd name="T44" fmla="*/ 207864 w 578"/>
              <a:gd name="T45" fmla="*/ 55390 h 184"/>
              <a:gd name="T46" fmla="*/ 213939 w 578"/>
              <a:gd name="T47" fmla="*/ 55908 h 184"/>
              <a:gd name="T48" fmla="*/ 219146 w 578"/>
              <a:gd name="T49" fmla="*/ 64708 h 184"/>
              <a:gd name="T50" fmla="*/ 226524 w 578"/>
              <a:gd name="T51" fmla="*/ 72473 h 184"/>
              <a:gd name="T52" fmla="*/ 231731 w 578"/>
              <a:gd name="T53" fmla="*/ 71955 h 184"/>
              <a:gd name="T54" fmla="*/ 236938 w 578"/>
              <a:gd name="T55" fmla="*/ 66261 h 184"/>
              <a:gd name="T56" fmla="*/ 242146 w 578"/>
              <a:gd name="T57" fmla="*/ 69367 h 184"/>
              <a:gd name="T58" fmla="*/ 247787 w 578"/>
              <a:gd name="T59" fmla="*/ 75061 h 184"/>
              <a:gd name="T60" fmla="*/ 250825 w 578"/>
              <a:gd name="T61" fmla="*/ 82826 h 184"/>
              <a:gd name="T62" fmla="*/ 249523 w 578"/>
              <a:gd name="T63" fmla="*/ 89556 h 184"/>
              <a:gd name="T64" fmla="*/ 246052 w 578"/>
              <a:gd name="T65" fmla="*/ 94215 h 184"/>
              <a:gd name="T66" fmla="*/ 239108 w 578"/>
              <a:gd name="T67" fmla="*/ 92144 h 184"/>
              <a:gd name="T68" fmla="*/ 228259 w 578"/>
              <a:gd name="T69" fmla="*/ 88003 h 184"/>
              <a:gd name="T70" fmla="*/ 213071 w 578"/>
              <a:gd name="T71" fmla="*/ 89038 h 184"/>
              <a:gd name="T72" fmla="*/ 200486 w 578"/>
              <a:gd name="T73" fmla="*/ 88003 h 184"/>
              <a:gd name="T74" fmla="*/ 195713 w 578"/>
              <a:gd name="T75" fmla="*/ 82826 h 184"/>
              <a:gd name="T76" fmla="*/ 190072 w 578"/>
              <a:gd name="T77" fmla="*/ 79720 h 184"/>
              <a:gd name="T78" fmla="*/ 184864 w 578"/>
              <a:gd name="T79" fmla="*/ 82826 h 184"/>
              <a:gd name="T80" fmla="*/ 180525 w 578"/>
              <a:gd name="T81" fmla="*/ 88003 h 184"/>
              <a:gd name="T82" fmla="*/ 172713 w 578"/>
              <a:gd name="T83" fmla="*/ 88520 h 184"/>
              <a:gd name="T84" fmla="*/ 142337 w 578"/>
              <a:gd name="T85" fmla="*/ 79202 h 184"/>
              <a:gd name="T86" fmla="*/ 120205 w 578"/>
              <a:gd name="T87" fmla="*/ 68332 h 184"/>
              <a:gd name="T88" fmla="*/ 115432 w 578"/>
              <a:gd name="T89" fmla="*/ 63673 h 184"/>
              <a:gd name="T90" fmla="*/ 99809 w 578"/>
              <a:gd name="T91" fmla="*/ 61602 h 184"/>
              <a:gd name="T92" fmla="*/ 87225 w 578"/>
              <a:gd name="T93" fmla="*/ 58496 h 184"/>
              <a:gd name="T94" fmla="*/ 72904 w 578"/>
              <a:gd name="T95" fmla="*/ 57461 h 184"/>
              <a:gd name="T96" fmla="*/ 63357 w 578"/>
              <a:gd name="T97" fmla="*/ 57461 h 184"/>
              <a:gd name="T98" fmla="*/ 53810 w 578"/>
              <a:gd name="T99" fmla="*/ 54355 h 184"/>
              <a:gd name="T100" fmla="*/ 52074 w 578"/>
              <a:gd name="T101" fmla="*/ 51249 h 184"/>
              <a:gd name="T102" fmla="*/ 29943 w 578"/>
              <a:gd name="T103" fmla="*/ 50213 h 184"/>
              <a:gd name="T104" fmla="*/ 19962 w 578"/>
              <a:gd name="T105" fmla="*/ 45554 h 184"/>
              <a:gd name="T106" fmla="*/ 0 w 578"/>
              <a:gd name="T107" fmla="*/ 28471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2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210384 w 491"/>
              <a:gd name="T1" fmla="*/ 251363 h 481"/>
              <a:gd name="T2" fmla="*/ 199472 w 491"/>
              <a:gd name="T3" fmla="*/ 244017 h 481"/>
              <a:gd name="T4" fmla="*/ 184195 w 491"/>
              <a:gd name="T5" fmla="*/ 227749 h 481"/>
              <a:gd name="T6" fmla="*/ 179830 w 491"/>
              <a:gd name="T7" fmla="*/ 218828 h 481"/>
              <a:gd name="T8" fmla="*/ 164117 w 491"/>
              <a:gd name="T9" fmla="*/ 215155 h 481"/>
              <a:gd name="T10" fmla="*/ 157133 w 491"/>
              <a:gd name="T11" fmla="*/ 213055 h 481"/>
              <a:gd name="T12" fmla="*/ 152768 w 491"/>
              <a:gd name="T13" fmla="*/ 207808 h 481"/>
              <a:gd name="T14" fmla="*/ 151022 w 491"/>
              <a:gd name="T15" fmla="*/ 196263 h 481"/>
              <a:gd name="T16" fmla="*/ 149276 w 491"/>
              <a:gd name="T17" fmla="*/ 174223 h 481"/>
              <a:gd name="T18" fmla="*/ 142729 w 491"/>
              <a:gd name="T19" fmla="*/ 159004 h 481"/>
              <a:gd name="T20" fmla="*/ 139237 w 491"/>
              <a:gd name="T21" fmla="*/ 145361 h 481"/>
              <a:gd name="T22" fmla="*/ 137055 w 491"/>
              <a:gd name="T23" fmla="*/ 128043 h 481"/>
              <a:gd name="T24" fmla="*/ 127452 w 491"/>
              <a:gd name="T25" fmla="*/ 117023 h 481"/>
              <a:gd name="T26" fmla="*/ 113485 w 491"/>
              <a:gd name="T27" fmla="*/ 107577 h 481"/>
              <a:gd name="T28" fmla="*/ 96462 w 491"/>
              <a:gd name="T29" fmla="*/ 99706 h 481"/>
              <a:gd name="T30" fmla="*/ 77694 w 491"/>
              <a:gd name="T31" fmla="*/ 94983 h 481"/>
              <a:gd name="T32" fmla="*/ 58052 w 491"/>
              <a:gd name="T33" fmla="*/ 93409 h 481"/>
              <a:gd name="T34" fmla="*/ 58052 w 491"/>
              <a:gd name="T35" fmla="*/ 81864 h 481"/>
              <a:gd name="T36" fmla="*/ 48013 w 491"/>
              <a:gd name="T37" fmla="*/ 76091 h 481"/>
              <a:gd name="T38" fmla="*/ 37101 w 491"/>
              <a:gd name="T39" fmla="*/ 68220 h 481"/>
              <a:gd name="T40" fmla="*/ 28808 w 491"/>
              <a:gd name="T41" fmla="*/ 58249 h 481"/>
              <a:gd name="T42" fmla="*/ 31863 w 491"/>
              <a:gd name="T43" fmla="*/ 69794 h 481"/>
              <a:gd name="T44" fmla="*/ 23570 w 491"/>
              <a:gd name="T45" fmla="*/ 77141 h 481"/>
              <a:gd name="T46" fmla="*/ 17459 w 491"/>
              <a:gd name="T47" fmla="*/ 93409 h 481"/>
              <a:gd name="T48" fmla="*/ 10476 w 491"/>
              <a:gd name="T49" fmla="*/ 115449 h 481"/>
              <a:gd name="T50" fmla="*/ 5674 w 491"/>
              <a:gd name="T51" fmla="*/ 139063 h 481"/>
              <a:gd name="T52" fmla="*/ 6111 w 491"/>
              <a:gd name="T53" fmla="*/ 124370 h 481"/>
              <a:gd name="T54" fmla="*/ 10039 w 491"/>
              <a:gd name="T55" fmla="*/ 109676 h 481"/>
              <a:gd name="T56" fmla="*/ 13967 w 491"/>
              <a:gd name="T57" fmla="*/ 94983 h 481"/>
              <a:gd name="T58" fmla="*/ 13094 w 491"/>
              <a:gd name="T59" fmla="*/ 75042 h 481"/>
              <a:gd name="T60" fmla="*/ 7420 w 491"/>
              <a:gd name="T61" fmla="*/ 58249 h 481"/>
              <a:gd name="T62" fmla="*/ 0 w 491"/>
              <a:gd name="T63" fmla="*/ 38308 h 481"/>
              <a:gd name="T64" fmla="*/ 14840 w 491"/>
              <a:gd name="T65" fmla="*/ 30961 h 481"/>
              <a:gd name="T66" fmla="*/ 25752 w 491"/>
              <a:gd name="T67" fmla="*/ 28862 h 481"/>
              <a:gd name="T68" fmla="*/ 36664 w 491"/>
              <a:gd name="T69" fmla="*/ 30436 h 481"/>
              <a:gd name="T70" fmla="*/ 44521 w 491"/>
              <a:gd name="T71" fmla="*/ 34635 h 481"/>
              <a:gd name="T72" fmla="*/ 52814 w 491"/>
              <a:gd name="T73" fmla="*/ 43031 h 481"/>
              <a:gd name="T74" fmla="*/ 61107 w 491"/>
              <a:gd name="T75" fmla="*/ 58249 h 481"/>
              <a:gd name="T76" fmla="*/ 79876 w 491"/>
              <a:gd name="T77" fmla="*/ 54051 h 481"/>
              <a:gd name="T78" fmla="*/ 85550 w 491"/>
              <a:gd name="T79" fmla="*/ 50378 h 481"/>
              <a:gd name="T80" fmla="*/ 87296 w 491"/>
              <a:gd name="T81" fmla="*/ 47229 h 481"/>
              <a:gd name="T82" fmla="*/ 90351 w 491"/>
              <a:gd name="T83" fmla="*/ 38308 h 481"/>
              <a:gd name="T84" fmla="*/ 101264 w 491"/>
              <a:gd name="T85" fmla="*/ 28337 h 481"/>
              <a:gd name="T86" fmla="*/ 110866 w 491"/>
              <a:gd name="T87" fmla="*/ 25714 h 481"/>
              <a:gd name="T88" fmla="*/ 114794 w 491"/>
              <a:gd name="T89" fmla="*/ 15743 h 481"/>
              <a:gd name="T90" fmla="*/ 122215 w 491"/>
              <a:gd name="T91" fmla="*/ 4723 h 481"/>
              <a:gd name="T92" fmla="*/ 130944 w 491"/>
              <a:gd name="T93" fmla="*/ 525 h 481"/>
              <a:gd name="T94" fmla="*/ 140983 w 491"/>
              <a:gd name="T95" fmla="*/ 0 h 481"/>
              <a:gd name="T96" fmla="*/ 153205 w 491"/>
              <a:gd name="T97" fmla="*/ 4198 h 481"/>
              <a:gd name="T98" fmla="*/ 174156 w 491"/>
              <a:gd name="T99" fmla="*/ 19941 h 481"/>
              <a:gd name="T100" fmla="*/ 186814 w 491"/>
              <a:gd name="T101" fmla="*/ 27813 h 481"/>
              <a:gd name="T102" fmla="*/ 200345 w 491"/>
              <a:gd name="T103" fmla="*/ 31486 h 481"/>
              <a:gd name="T104" fmla="*/ 214312 w 491"/>
              <a:gd name="T105" fmla="*/ 35159 h 481"/>
              <a:gd name="T106" fmla="*/ 214312 w 491"/>
              <a:gd name="T107" fmla="*/ 171074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3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9796 h 117"/>
              <a:gd name="T2" fmla="*/ 29220 w 133"/>
              <a:gd name="T3" fmla="*/ 0 h 117"/>
              <a:gd name="T4" fmla="*/ 32872 w 133"/>
              <a:gd name="T5" fmla="*/ 3094 h 117"/>
              <a:gd name="T6" fmla="*/ 36930 w 133"/>
              <a:gd name="T7" fmla="*/ 7218 h 117"/>
              <a:gd name="T8" fmla="*/ 40989 w 133"/>
              <a:gd name="T9" fmla="*/ 12890 h 117"/>
              <a:gd name="T10" fmla="*/ 44235 w 133"/>
              <a:gd name="T11" fmla="*/ 19077 h 117"/>
              <a:gd name="T12" fmla="*/ 47888 w 133"/>
              <a:gd name="T13" fmla="*/ 25264 h 117"/>
              <a:gd name="T14" fmla="*/ 51134 w 133"/>
              <a:gd name="T15" fmla="*/ 31967 h 117"/>
              <a:gd name="T16" fmla="*/ 51946 w 133"/>
              <a:gd name="T17" fmla="*/ 35061 h 117"/>
              <a:gd name="T18" fmla="*/ 52758 w 133"/>
              <a:gd name="T19" fmla="*/ 38154 h 117"/>
              <a:gd name="T20" fmla="*/ 53163 w 133"/>
              <a:gd name="T21" fmla="*/ 41248 h 117"/>
              <a:gd name="T22" fmla="*/ 53975 w 133"/>
              <a:gd name="T23" fmla="*/ 44341 h 117"/>
              <a:gd name="T24" fmla="*/ 53163 w 133"/>
              <a:gd name="T25" fmla="*/ 47435 h 117"/>
              <a:gd name="T26" fmla="*/ 51946 w 133"/>
              <a:gd name="T27" fmla="*/ 50013 h 117"/>
              <a:gd name="T28" fmla="*/ 50323 w 133"/>
              <a:gd name="T29" fmla="*/ 52591 h 117"/>
              <a:gd name="T30" fmla="*/ 47888 w 133"/>
              <a:gd name="T31" fmla="*/ 55169 h 117"/>
              <a:gd name="T32" fmla="*/ 45858 w 133"/>
              <a:gd name="T33" fmla="*/ 57231 h 117"/>
              <a:gd name="T34" fmla="*/ 43423 w 133"/>
              <a:gd name="T35" fmla="*/ 58778 h 117"/>
              <a:gd name="T36" fmla="*/ 41800 w 133"/>
              <a:gd name="T37" fmla="*/ 60325 h 117"/>
              <a:gd name="T38" fmla="*/ 40583 w 133"/>
              <a:gd name="T39" fmla="*/ 60325 h 117"/>
              <a:gd name="T40" fmla="*/ 29220 w 133"/>
              <a:gd name="T41" fmla="*/ 48982 h 117"/>
              <a:gd name="T42" fmla="*/ 18262 w 133"/>
              <a:gd name="T43" fmla="*/ 36092 h 117"/>
              <a:gd name="T44" fmla="*/ 12986 w 133"/>
              <a:gd name="T45" fmla="*/ 29905 h 117"/>
              <a:gd name="T46" fmla="*/ 7305 w 133"/>
              <a:gd name="T47" fmla="*/ 23718 h 117"/>
              <a:gd name="T48" fmla="*/ 3247 w 133"/>
              <a:gd name="T49" fmla="*/ 17015 h 117"/>
              <a:gd name="T50" fmla="*/ 0 w 133"/>
              <a:gd name="T51" fmla="*/ 9796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4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118852 w 505"/>
              <a:gd name="T1" fmla="*/ 18881 h 339"/>
              <a:gd name="T2" fmla="*/ 211487 w 505"/>
              <a:gd name="T3" fmla="*/ 45106 h 339"/>
              <a:gd name="T4" fmla="*/ 208865 w 505"/>
              <a:gd name="T5" fmla="*/ 57169 h 339"/>
              <a:gd name="T6" fmla="*/ 205806 w 505"/>
              <a:gd name="T7" fmla="*/ 67658 h 339"/>
              <a:gd name="T8" fmla="*/ 201437 w 505"/>
              <a:gd name="T9" fmla="*/ 76050 h 339"/>
              <a:gd name="T10" fmla="*/ 197067 w 505"/>
              <a:gd name="T11" fmla="*/ 80246 h 339"/>
              <a:gd name="T12" fmla="*/ 201437 w 505"/>
              <a:gd name="T13" fmla="*/ 96505 h 339"/>
              <a:gd name="T14" fmla="*/ 208428 w 505"/>
              <a:gd name="T15" fmla="*/ 112764 h 339"/>
              <a:gd name="T16" fmla="*/ 220663 w 505"/>
              <a:gd name="T17" fmla="*/ 135317 h 339"/>
              <a:gd name="T18" fmla="*/ 215420 w 505"/>
              <a:gd name="T19" fmla="*/ 142135 h 339"/>
              <a:gd name="T20" fmla="*/ 209302 w 505"/>
              <a:gd name="T21" fmla="*/ 153149 h 339"/>
              <a:gd name="T22" fmla="*/ 204496 w 505"/>
              <a:gd name="T23" fmla="*/ 164688 h 339"/>
              <a:gd name="T24" fmla="*/ 202748 w 505"/>
              <a:gd name="T25" fmla="*/ 177800 h 339"/>
              <a:gd name="T26" fmla="*/ 193572 w 505"/>
              <a:gd name="T27" fmla="*/ 177276 h 339"/>
              <a:gd name="T28" fmla="*/ 180900 w 505"/>
              <a:gd name="T29" fmla="*/ 175702 h 339"/>
              <a:gd name="T30" fmla="*/ 168228 w 505"/>
              <a:gd name="T31" fmla="*/ 173604 h 339"/>
              <a:gd name="T32" fmla="*/ 156430 w 505"/>
              <a:gd name="T33" fmla="*/ 170982 h 339"/>
              <a:gd name="T34" fmla="*/ 132835 w 505"/>
              <a:gd name="T35" fmla="*/ 170457 h 339"/>
              <a:gd name="T36" fmla="*/ 115356 w 505"/>
              <a:gd name="T37" fmla="*/ 168359 h 339"/>
              <a:gd name="T38" fmla="*/ 108365 w 505"/>
              <a:gd name="T39" fmla="*/ 166261 h 339"/>
              <a:gd name="T40" fmla="*/ 101374 w 505"/>
              <a:gd name="T41" fmla="*/ 162590 h 339"/>
              <a:gd name="T42" fmla="*/ 93072 w 505"/>
              <a:gd name="T43" fmla="*/ 157345 h 339"/>
              <a:gd name="T44" fmla="*/ 78652 w 505"/>
              <a:gd name="T45" fmla="*/ 151576 h 339"/>
              <a:gd name="T46" fmla="*/ 63796 w 505"/>
              <a:gd name="T47" fmla="*/ 143184 h 339"/>
              <a:gd name="T48" fmla="*/ 42822 w 505"/>
              <a:gd name="T49" fmla="*/ 130596 h 339"/>
              <a:gd name="T50" fmla="*/ 27091 w 505"/>
              <a:gd name="T51" fmla="*/ 108044 h 339"/>
              <a:gd name="T52" fmla="*/ 22722 w 505"/>
              <a:gd name="T53" fmla="*/ 88638 h 339"/>
              <a:gd name="T54" fmla="*/ 15730 w 505"/>
              <a:gd name="T55" fmla="*/ 65036 h 339"/>
              <a:gd name="T56" fmla="*/ 6554 w 505"/>
              <a:gd name="T57" fmla="*/ 43532 h 339"/>
              <a:gd name="T58" fmla="*/ 874 w 505"/>
              <a:gd name="T59" fmla="*/ 33567 h 339"/>
              <a:gd name="T60" fmla="*/ 2185 w 505"/>
              <a:gd name="T61" fmla="*/ 31994 h 339"/>
              <a:gd name="T62" fmla="*/ 4807 w 505"/>
              <a:gd name="T63" fmla="*/ 29371 h 339"/>
              <a:gd name="T64" fmla="*/ 4807 w 505"/>
              <a:gd name="T65" fmla="*/ 25175 h 339"/>
              <a:gd name="T66" fmla="*/ 4807 w 505"/>
              <a:gd name="T67" fmla="*/ 22553 h 339"/>
              <a:gd name="T68" fmla="*/ 14857 w 505"/>
              <a:gd name="T69" fmla="*/ 17832 h 339"/>
              <a:gd name="T70" fmla="*/ 31898 w 505"/>
              <a:gd name="T71" fmla="*/ 11539 h 339"/>
              <a:gd name="T72" fmla="*/ 55930 w 505"/>
              <a:gd name="T73" fmla="*/ 4196 h 339"/>
              <a:gd name="T74" fmla="*/ 75593 w 505"/>
              <a:gd name="T75" fmla="*/ 5769 h 339"/>
              <a:gd name="T76" fmla="*/ 82148 w 505"/>
              <a:gd name="T77" fmla="*/ 14686 h 339"/>
              <a:gd name="T78" fmla="*/ 87828 w 505"/>
              <a:gd name="T79" fmla="*/ 18357 h 339"/>
              <a:gd name="T80" fmla="*/ 95693 w 505"/>
              <a:gd name="T81" fmla="*/ 18881 h 339"/>
              <a:gd name="T82" fmla="*/ 104433 w 505"/>
              <a:gd name="T83" fmla="*/ 18881 h 339"/>
              <a:gd name="T84" fmla="*/ 113172 w 505"/>
              <a:gd name="T85" fmla="*/ 12588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5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134815 w 338"/>
              <a:gd name="T1" fmla="*/ 0 h 141"/>
              <a:gd name="T2" fmla="*/ 80371 w 338"/>
              <a:gd name="T3" fmla="*/ 0 h 141"/>
              <a:gd name="T4" fmla="*/ 72593 w 338"/>
              <a:gd name="T5" fmla="*/ 4053 h 141"/>
              <a:gd name="T6" fmla="*/ 62222 w 338"/>
              <a:gd name="T7" fmla="*/ 10640 h 141"/>
              <a:gd name="T8" fmla="*/ 57037 w 338"/>
              <a:gd name="T9" fmla="*/ 13680 h 141"/>
              <a:gd name="T10" fmla="*/ 51420 w 338"/>
              <a:gd name="T11" fmla="*/ 16213 h 141"/>
              <a:gd name="T12" fmla="*/ 48395 w 338"/>
              <a:gd name="T13" fmla="*/ 17226 h 141"/>
              <a:gd name="T14" fmla="*/ 45371 w 338"/>
              <a:gd name="T15" fmla="*/ 17733 h 141"/>
              <a:gd name="T16" fmla="*/ 42778 w 338"/>
              <a:gd name="T17" fmla="*/ 18239 h 141"/>
              <a:gd name="T18" fmla="*/ 40185 w 338"/>
              <a:gd name="T19" fmla="*/ 18746 h 141"/>
              <a:gd name="T20" fmla="*/ 38025 w 338"/>
              <a:gd name="T21" fmla="*/ 18239 h 141"/>
              <a:gd name="T22" fmla="*/ 36296 w 338"/>
              <a:gd name="T23" fmla="*/ 17733 h 141"/>
              <a:gd name="T24" fmla="*/ 33704 w 338"/>
              <a:gd name="T25" fmla="*/ 16213 h 141"/>
              <a:gd name="T26" fmla="*/ 31975 w 338"/>
              <a:gd name="T27" fmla="*/ 15200 h 141"/>
              <a:gd name="T28" fmla="*/ 28519 w 338"/>
              <a:gd name="T29" fmla="*/ 12160 h 141"/>
              <a:gd name="T30" fmla="*/ 25494 w 338"/>
              <a:gd name="T31" fmla="*/ 9120 h 141"/>
              <a:gd name="T32" fmla="*/ 21173 w 338"/>
              <a:gd name="T33" fmla="*/ 17226 h 141"/>
              <a:gd name="T34" fmla="*/ 15988 w 338"/>
              <a:gd name="T35" fmla="*/ 25839 h 141"/>
              <a:gd name="T36" fmla="*/ 12963 w 338"/>
              <a:gd name="T37" fmla="*/ 30399 h 141"/>
              <a:gd name="T38" fmla="*/ 9074 w 338"/>
              <a:gd name="T39" fmla="*/ 34452 h 141"/>
              <a:gd name="T40" fmla="*/ 4753 w 338"/>
              <a:gd name="T41" fmla="*/ 37999 h 141"/>
              <a:gd name="T42" fmla="*/ 0 w 338"/>
              <a:gd name="T43" fmla="*/ 40532 h 141"/>
              <a:gd name="T44" fmla="*/ 5185 w 338"/>
              <a:gd name="T45" fmla="*/ 45599 h 141"/>
              <a:gd name="T46" fmla="*/ 9938 w 338"/>
              <a:gd name="T47" fmla="*/ 50665 h 141"/>
              <a:gd name="T48" fmla="*/ 14259 w 338"/>
              <a:gd name="T49" fmla="*/ 54718 h 141"/>
              <a:gd name="T50" fmla="*/ 19012 w 338"/>
              <a:gd name="T51" fmla="*/ 58772 h 141"/>
              <a:gd name="T52" fmla="*/ 23766 w 338"/>
              <a:gd name="T53" fmla="*/ 61812 h 141"/>
              <a:gd name="T54" fmla="*/ 28519 w 338"/>
              <a:gd name="T55" fmla="*/ 65358 h 141"/>
              <a:gd name="T56" fmla="*/ 34136 w 338"/>
              <a:gd name="T57" fmla="*/ 68398 h 141"/>
              <a:gd name="T58" fmla="*/ 40185 w 338"/>
              <a:gd name="T59" fmla="*/ 71438 h 141"/>
              <a:gd name="T60" fmla="*/ 111914 w 338"/>
              <a:gd name="T61" fmla="*/ 71438 h 141"/>
              <a:gd name="T62" fmla="*/ 116235 w 338"/>
              <a:gd name="T63" fmla="*/ 62825 h 141"/>
              <a:gd name="T64" fmla="*/ 121420 w 338"/>
              <a:gd name="T65" fmla="*/ 54212 h 141"/>
              <a:gd name="T66" fmla="*/ 126173 w 338"/>
              <a:gd name="T67" fmla="*/ 46612 h 141"/>
              <a:gd name="T68" fmla="*/ 131359 w 338"/>
              <a:gd name="T69" fmla="*/ 39519 h 141"/>
              <a:gd name="T70" fmla="*/ 136112 w 338"/>
              <a:gd name="T71" fmla="*/ 32426 h 141"/>
              <a:gd name="T72" fmla="*/ 140001 w 338"/>
              <a:gd name="T73" fmla="*/ 24319 h 141"/>
              <a:gd name="T74" fmla="*/ 143889 w 338"/>
              <a:gd name="T75" fmla="*/ 17226 h 141"/>
              <a:gd name="T76" fmla="*/ 146050 w 338"/>
              <a:gd name="T77" fmla="*/ 9120 h 141"/>
              <a:gd name="T78" fmla="*/ 134815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6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111125 w 259"/>
              <a:gd name="T1" fmla="*/ 65087 h 129"/>
              <a:gd name="T2" fmla="*/ 109409 w 259"/>
              <a:gd name="T3" fmla="*/ 51464 h 129"/>
              <a:gd name="T4" fmla="*/ 108122 w 259"/>
              <a:gd name="T5" fmla="*/ 40364 h 129"/>
              <a:gd name="T6" fmla="*/ 108122 w 259"/>
              <a:gd name="T7" fmla="*/ 31787 h 129"/>
              <a:gd name="T8" fmla="*/ 108551 w 259"/>
              <a:gd name="T9" fmla="*/ 25228 h 129"/>
              <a:gd name="T10" fmla="*/ 110267 w 259"/>
              <a:gd name="T11" fmla="*/ 14632 h 129"/>
              <a:gd name="T12" fmla="*/ 111125 w 259"/>
              <a:gd name="T13" fmla="*/ 6055 h 129"/>
              <a:gd name="T14" fmla="*/ 110696 w 259"/>
              <a:gd name="T15" fmla="*/ 7064 h 129"/>
              <a:gd name="T16" fmla="*/ 109838 w 259"/>
              <a:gd name="T17" fmla="*/ 8073 h 129"/>
              <a:gd name="T18" fmla="*/ 108551 w 259"/>
              <a:gd name="T19" fmla="*/ 8577 h 129"/>
              <a:gd name="T20" fmla="*/ 106834 w 259"/>
              <a:gd name="T21" fmla="*/ 9082 h 129"/>
              <a:gd name="T22" fmla="*/ 102544 w 259"/>
              <a:gd name="T23" fmla="*/ 9586 h 129"/>
              <a:gd name="T24" fmla="*/ 97824 w 259"/>
              <a:gd name="T25" fmla="*/ 9586 h 129"/>
              <a:gd name="T26" fmla="*/ 87956 w 259"/>
              <a:gd name="T27" fmla="*/ 9586 h 129"/>
              <a:gd name="T28" fmla="*/ 82378 w 259"/>
              <a:gd name="T29" fmla="*/ 9082 h 129"/>
              <a:gd name="T30" fmla="*/ 77659 w 259"/>
              <a:gd name="T31" fmla="*/ 8577 h 129"/>
              <a:gd name="T32" fmla="*/ 73797 w 259"/>
              <a:gd name="T33" fmla="*/ 7568 h 129"/>
              <a:gd name="T34" fmla="*/ 69936 w 259"/>
              <a:gd name="T35" fmla="*/ 6055 h 129"/>
              <a:gd name="T36" fmla="*/ 66932 w 259"/>
              <a:gd name="T37" fmla="*/ 4541 h 129"/>
              <a:gd name="T38" fmla="*/ 62642 w 259"/>
              <a:gd name="T39" fmla="*/ 3027 h 129"/>
              <a:gd name="T40" fmla="*/ 57493 w 259"/>
              <a:gd name="T41" fmla="*/ 1514 h 129"/>
              <a:gd name="T42" fmla="*/ 50628 w 259"/>
              <a:gd name="T43" fmla="*/ 505 h 129"/>
              <a:gd name="T44" fmla="*/ 42476 w 259"/>
              <a:gd name="T45" fmla="*/ 0 h 129"/>
              <a:gd name="T46" fmla="*/ 35611 w 259"/>
              <a:gd name="T47" fmla="*/ 0 h 129"/>
              <a:gd name="T48" fmla="*/ 28747 w 259"/>
              <a:gd name="T49" fmla="*/ 0 h 129"/>
              <a:gd name="T50" fmla="*/ 21453 w 259"/>
              <a:gd name="T51" fmla="*/ 0 h 129"/>
              <a:gd name="T52" fmla="*/ 14588 w 259"/>
              <a:gd name="T53" fmla="*/ 1009 h 129"/>
              <a:gd name="T54" fmla="*/ 11584 w 259"/>
              <a:gd name="T55" fmla="*/ 2018 h 129"/>
              <a:gd name="T56" fmla="*/ 9010 w 259"/>
              <a:gd name="T57" fmla="*/ 3027 h 129"/>
              <a:gd name="T58" fmla="*/ 6007 w 259"/>
              <a:gd name="T59" fmla="*/ 4541 h 129"/>
              <a:gd name="T60" fmla="*/ 4291 w 259"/>
              <a:gd name="T61" fmla="*/ 6559 h 129"/>
              <a:gd name="T62" fmla="*/ 2145 w 259"/>
              <a:gd name="T63" fmla="*/ 8577 h 129"/>
              <a:gd name="T64" fmla="*/ 858 w 259"/>
              <a:gd name="T65" fmla="*/ 11100 h 129"/>
              <a:gd name="T66" fmla="*/ 0 w 259"/>
              <a:gd name="T67" fmla="*/ 14632 h 129"/>
              <a:gd name="T68" fmla="*/ 0 w 259"/>
              <a:gd name="T69" fmla="*/ 18164 h 129"/>
              <a:gd name="T70" fmla="*/ 0 w 259"/>
              <a:gd name="T71" fmla="*/ 24218 h 129"/>
              <a:gd name="T72" fmla="*/ 1287 w 259"/>
              <a:gd name="T73" fmla="*/ 29264 h 129"/>
              <a:gd name="T74" fmla="*/ 2574 w 259"/>
              <a:gd name="T75" fmla="*/ 32796 h 129"/>
              <a:gd name="T76" fmla="*/ 5149 w 259"/>
              <a:gd name="T77" fmla="*/ 35823 h 129"/>
              <a:gd name="T78" fmla="*/ 7294 w 259"/>
              <a:gd name="T79" fmla="*/ 38346 h 129"/>
              <a:gd name="T80" fmla="*/ 10297 w 259"/>
              <a:gd name="T81" fmla="*/ 40364 h 129"/>
              <a:gd name="T82" fmla="*/ 13301 w 259"/>
              <a:gd name="T83" fmla="*/ 41878 h 129"/>
              <a:gd name="T84" fmla="*/ 15875 w 259"/>
              <a:gd name="T85" fmla="*/ 42887 h 129"/>
              <a:gd name="T86" fmla="*/ 21453 w 259"/>
              <a:gd name="T87" fmla="*/ 44400 h 129"/>
              <a:gd name="T88" fmla="*/ 26172 w 259"/>
              <a:gd name="T89" fmla="*/ 46419 h 129"/>
              <a:gd name="T90" fmla="*/ 27889 w 259"/>
              <a:gd name="T91" fmla="*/ 47932 h 129"/>
              <a:gd name="T92" fmla="*/ 28747 w 259"/>
              <a:gd name="T93" fmla="*/ 49950 h 129"/>
              <a:gd name="T94" fmla="*/ 28747 w 259"/>
              <a:gd name="T95" fmla="*/ 52978 h 129"/>
              <a:gd name="T96" fmla="*/ 28318 w 259"/>
              <a:gd name="T97" fmla="*/ 56005 h 129"/>
              <a:gd name="T98" fmla="*/ 34753 w 259"/>
              <a:gd name="T99" fmla="*/ 55501 h 129"/>
              <a:gd name="T100" fmla="*/ 39044 w 259"/>
              <a:gd name="T101" fmla="*/ 54491 h 129"/>
              <a:gd name="T102" fmla="*/ 42047 w 259"/>
              <a:gd name="T103" fmla="*/ 53482 h 129"/>
              <a:gd name="T104" fmla="*/ 45051 w 259"/>
              <a:gd name="T105" fmla="*/ 52978 h 129"/>
              <a:gd name="T106" fmla="*/ 51486 w 259"/>
              <a:gd name="T107" fmla="*/ 53482 h 129"/>
              <a:gd name="T108" fmla="*/ 60068 w 259"/>
              <a:gd name="T109" fmla="*/ 54491 h 129"/>
              <a:gd name="T110" fmla="*/ 71223 w 259"/>
              <a:gd name="T111" fmla="*/ 56510 h 129"/>
              <a:gd name="T112" fmla="*/ 82378 w 259"/>
              <a:gd name="T113" fmla="*/ 59032 h 129"/>
              <a:gd name="T114" fmla="*/ 102115 w 259"/>
              <a:gd name="T115" fmla="*/ 63069 h 129"/>
              <a:gd name="T116" fmla="*/ 111125 w 259"/>
              <a:gd name="T117" fmla="*/ 6508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7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176432 w 425"/>
              <a:gd name="T1" fmla="*/ 89297 h 272"/>
              <a:gd name="T2" fmla="*/ 167991 w 425"/>
              <a:gd name="T3" fmla="*/ 98752 h 272"/>
              <a:gd name="T4" fmla="*/ 161659 w 425"/>
              <a:gd name="T5" fmla="*/ 108207 h 272"/>
              <a:gd name="T6" fmla="*/ 162081 w 425"/>
              <a:gd name="T7" fmla="*/ 116086 h 272"/>
              <a:gd name="T8" fmla="*/ 164192 w 425"/>
              <a:gd name="T9" fmla="*/ 124490 h 272"/>
              <a:gd name="T10" fmla="*/ 158283 w 425"/>
              <a:gd name="T11" fmla="*/ 128167 h 272"/>
              <a:gd name="T12" fmla="*/ 146464 w 425"/>
              <a:gd name="T13" fmla="*/ 125016 h 272"/>
              <a:gd name="T14" fmla="*/ 136756 w 425"/>
              <a:gd name="T15" fmla="*/ 123440 h 272"/>
              <a:gd name="T16" fmla="*/ 124516 w 425"/>
              <a:gd name="T17" fmla="*/ 123440 h 272"/>
              <a:gd name="T18" fmla="*/ 111009 w 425"/>
              <a:gd name="T19" fmla="*/ 127642 h 272"/>
              <a:gd name="T20" fmla="*/ 97924 w 425"/>
              <a:gd name="T21" fmla="*/ 133420 h 272"/>
              <a:gd name="T22" fmla="*/ 83151 w 425"/>
              <a:gd name="T23" fmla="*/ 140249 h 272"/>
              <a:gd name="T24" fmla="*/ 42209 w 425"/>
              <a:gd name="T25" fmla="*/ 126066 h 272"/>
              <a:gd name="T26" fmla="*/ 35877 w 425"/>
              <a:gd name="T27" fmla="*/ 118712 h 272"/>
              <a:gd name="T28" fmla="*/ 29546 w 425"/>
              <a:gd name="T29" fmla="*/ 112409 h 272"/>
              <a:gd name="T30" fmla="*/ 15617 w 425"/>
              <a:gd name="T31" fmla="*/ 100853 h 272"/>
              <a:gd name="T32" fmla="*/ 9286 w 425"/>
              <a:gd name="T33" fmla="*/ 94550 h 272"/>
              <a:gd name="T34" fmla="*/ 4643 w 425"/>
              <a:gd name="T35" fmla="*/ 87721 h 272"/>
              <a:gd name="T36" fmla="*/ 844 w 425"/>
              <a:gd name="T37" fmla="*/ 78791 h 272"/>
              <a:gd name="T38" fmla="*/ 0 w 425"/>
              <a:gd name="T39" fmla="*/ 67761 h 272"/>
              <a:gd name="T40" fmla="*/ 21104 w 425"/>
              <a:gd name="T41" fmla="*/ 34668 h 272"/>
              <a:gd name="T42" fmla="*/ 29968 w 425"/>
              <a:gd name="T43" fmla="*/ 18910 h 272"/>
              <a:gd name="T44" fmla="*/ 33767 w 425"/>
              <a:gd name="T45" fmla="*/ 11556 h 272"/>
              <a:gd name="T46" fmla="*/ 35877 w 425"/>
              <a:gd name="T47" fmla="*/ 3152 h 272"/>
              <a:gd name="T48" fmla="*/ 51917 w 425"/>
              <a:gd name="T49" fmla="*/ 5253 h 272"/>
              <a:gd name="T50" fmla="*/ 64579 w 425"/>
              <a:gd name="T51" fmla="*/ 9455 h 272"/>
              <a:gd name="T52" fmla="*/ 75976 w 425"/>
              <a:gd name="T53" fmla="*/ 14182 h 272"/>
              <a:gd name="T54" fmla="*/ 86528 w 425"/>
              <a:gd name="T55" fmla="*/ 16284 h 272"/>
              <a:gd name="T56" fmla="*/ 90327 w 425"/>
              <a:gd name="T57" fmla="*/ 15233 h 272"/>
              <a:gd name="T58" fmla="*/ 93281 w 425"/>
              <a:gd name="T59" fmla="*/ 13657 h 272"/>
              <a:gd name="T60" fmla="*/ 97924 w 425"/>
              <a:gd name="T61" fmla="*/ 7879 h 272"/>
              <a:gd name="T62" fmla="*/ 102145 w 425"/>
              <a:gd name="T63" fmla="*/ 2626 h 272"/>
              <a:gd name="T64" fmla="*/ 105522 w 425"/>
              <a:gd name="T65" fmla="*/ 1051 h 272"/>
              <a:gd name="T66" fmla="*/ 109321 w 425"/>
              <a:gd name="T67" fmla="*/ 0 h 272"/>
              <a:gd name="T68" fmla="*/ 116074 w 425"/>
              <a:gd name="T69" fmla="*/ 1051 h 272"/>
              <a:gd name="T70" fmla="*/ 121983 w 425"/>
              <a:gd name="T71" fmla="*/ 3677 h 272"/>
              <a:gd name="T72" fmla="*/ 127470 w 425"/>
              <a:gd name="T73" fmla="*/ 7879 h 272"/>
              <a:gd name="T74" fmla="*/ 130847 w 425"/>
              <a:gd name="T75" fmla="*/ 13657 h 272"/>
              <a:gd name="T76" fmla="*/ 137178 w 425"/>
              <a:gd name="T77" fmla="*/ 27840 h 272"/>
              <a:gd name="T78" fmla="*/ 142243 w 425"/>
              <a:gd name="T79" fmla="*/ 43073 h 272"/>
              <a:gd name="T80" fmla="*/ 147308 w 425"/>
              <a:gd name="T81" fmla="*/ 59356 h 272"/>
              <a:gd name="T82" fmla="*/ 150263 w 425"/>
              <a:gd name="T83" fmla="*/ 66185 h 272"/>
              <a:gd name="T84" fmla="*/ 154062 w 425"/>
              <a:gd name="T85" fmla="*/ 72488 h 272"/>
              <a:gd name="T86" fmla="*/ 158705 w 425"/>
              <a:gd name="T87" fmla="*/ 77216 h 272"/>
              <a:gd name="T88" fmla="*/ 164192 w 425"/>
              <a:gd name="T89" fmla="*/ 81943 h 272"/>
              <a:gd name="T90" fmla="*/ 170945 w 425"/>
              <a:gd name="T91" fmla="*/ 84044 h 272"/>
              <a:gd name="T92" fmla="*/ 179387 w 425"/>
              <a:gd name="T93" fmla="*/ 84569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8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5628 w 33"/>
              <a:gd name="T1" fmla="*/ 10754 h 31"/>
              <a:gd name="T2" fmla="*/ 0 w 33"/>
              <a:gd name="T3" fmla="*/ 34055 h 31"/>
              <a:gd name="T4" fmla="*/ 2165 w 33"/>
              <a:gd name="T5" fmla="*/ 37639 h 31"/>
              <a:gd name="T6" fmla="*/ 6061 w 33"/>
              <a:gd name="T7" fmla="*/ 44809 h 31"/>
              <a:gd name="T8" fmla="*/ 8226 w 33"/>
              <a:gd name="T9" fmla="*/ 48394 h 31"/>
              <a:gd name="T10" fmla="*/ 9958 w 33"/>
              <a:gd name="T11" fmla="*/ 51978 h 31"/>
              <a:gd name="T12" fmla="*/ 11689 w 33"/>
              <a:gd name="T13" fmla="*/ 53771 h 31"/>
              <a:gd name="T14" fmla="*/ 14287 w 33"/>
              <a:gd name="T15" fmla="*/ 55563 h 31"/>
              <a:gd name="T16" fmla="*/ 14287 w 33"/>
              <a:gd name="T17" fmla="*/ 0 h 31"/>
              <a:gd name="T18" fmla="*/ 8659 w 33"/>
              <a:gd name="T19" fmla="*/ 0 h 31"/>
              <a:gd name="T20" fmla="*/ 5628 w 33"/>
              <a:gd name="T21" fmla="*/ 10754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9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2679 w 192"/>
              <a:gd name="T1" fmla="*/ 9793 h 154"/>
              <a:gd name="T2" fmla="*/ 23217 w 192"/>
              <a:gd name="T3" fmla="*/ 0 h 154"/>
              <a:gd name="T4" fmla="*/ 41077 w 192"/>
              <a:gd name="T5" fmla="*/ 9793 h 154"/>
              <a:gd name="T6" fmla="*/ 53132 w 192"/>
              <a:gd name="T7" fmla="*/ 15978 h 154"/>
              <a:gd name="T8" fmla="*/ 65187 w 192"/>
              <a:gd name="T9" fmla="*/ 32472 h 154"/>
              <a:gd name="T10" fmla="*/ 74116 w 192"/>
              <a:gd name="T11" fmla="*/ 47934 h 154"/>
              <a:gd name="T12" fmla="*/ 85725 w 192"/>
              <a:gd name="T13" fmla="*/ 60820 h 154"/>
              <a:gd name="T14" fmla="*/ 67866 w 192"/>
              <a:gd name="T15" fmla="*/ 63912 h 154"/>
              <a:gd name="T16" fmla="*/ 56257 w 192"/>
              <a:gd name="T17" fmla="*/ 67005 h 154"/>
              <a:gd name="T18" fmla="*/ 56257 w 192"/>
              <a:gd name="T19" fmla="*/ 79375 h 154"/>
              <a:gd name="T20" fmla="*/ 47327 w 192"/>
              <a:gd name="T21" fmla="*/ 79375 h 154"/>
              <a:gd name="T22" fmla="*/ 44202 w 192"/>
              <a:gd name="T23" fmla="*/ 75252 h 154"/>
              <a:gd name="T24" fmla="*/ 41523 w 192"/>
              <a:gd name="T25" fmla="*/ 70613 h 154"/>
              <a:gd name="T26" fmla="*/ 39291 w 192"/>
              <a:gd name="T27" fmla="*/ 64943 h 154"/>
              <a:gd name="T28" fmla="*/ 36612 w 192"/>
              <a:gd name="T29" fmla="*/ 59274 h 154"/>
              <a:gd name="T30" fmla="*/ 33040 w 192"/>
              <a:gd name="T31" fmla="*/ 47934 h 154"/>
              <a:gd name="T32" fmla="*/ 29021 w 192"/>
              <a:gd name="T33" fmla="*/ 36595 h 154"/>
              <a:gd name="T34" fmla="*/ 26789 w 192"/>
              <a:gd name="T35" fmla="*/ 31441 h 154"/>
              <a:gd name="T36" fmla="*/ 24557 w 192"/>
              <a:gd name="T37" fmla="*/ 25771 h 154"/>
              <a:gd name="T38" fmla="*/ 21431 w 192"/>
              <a:gd name="T39" fmla="*/ 21648 h 154"/>
              <a:gd name="T40" fmla="*/ 18306 w 192"/>
              <a:gd name="T41" fmla="*/ 17524 h 154"/>
              <a:gd name="T42" fmla="*/ 14734 w 192"/>
              <a:gd name="T43" fmla="*/ 14432 h 154"/>
              <a:gd name="T44" fmla="*/ 10716 w 192"/>
              <a:gd name="T45" fmla="*/ 11855 h 154"/>
              <a:gd name="T46" fmla="*/ 8037 w 192"/>
              <a:gd name="T47" fmla="*/ 11339 h 154"/>
              <a:gd name="T48" fmla="*/ 5358 w 192"/>
              <a:gd name="T49" fmla="*/ 10308 h 154"/>
              <a:gd name="T50" fmla="*/ 2679 w 192"/>
              <a:gd name="T51" fmla="*/ 10308 h 154"/>
              <a:gd name="T52" fmla="*/ 0 w 192"/>
              <a:gd name="T53" fmla="*/ 9793 h 154"/>
              <a:gd name="T54" fmla="*/ 2679 w 192"/>
              <a:gd name="T55" fmla="*/ 9793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0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170299 w 877"/>
              <a:gd name="T1" fmla="*/ 179533 h 469"/>
              <a:gd name="T2" fmla="*/ 138585 w 877"/>
              <a:gd name="T3" fmla="*/ 133594 h 469"/>
              <a:gd name="T4" fmla="*/ 89494 w 877"/>
              <a:gd name="T5" fmla="*/ 127257 h 469"/>
              <a:gd name="T6" fmla="*/ 82977 w 877"/>
              <a:gd name="T7" fmla="*/ 128313 h 469"/>
              <a:gd name="T8" fmla="*/ 77330 w 877"/>
              <a:gd name="T9" fmla="*/ 132538 h 469"/>
              <a:gd name="T10" fmla="*/ 70379 w 877"/>
              <a:gd name="T11" fmla="*/ 140986 h 469"/>
              <a:gd name="T12" fmla="*/ 65600 w 877"/>
              <a:gd name="T13" fmla="*/ 143098 h 469"/>
              <a:gd name="T14" fmla="*/ 52567 w 877"/>
              <a:gd name="T15" fmla="*/ 141514 h 469"/>
              <a:gd name="T16" fmla="*/ 34320 w 877"/>
              <a:gd name="T17" fmla="*/ 134650 h 469"/>
              <a:gd name="T18" fmla="*/ 11295 w 877"/>
              <a:gd name="T19" fmla="*/ 130425 h 469"/>
              <a:gd name="T20" fmla="*/ 3475 w 877"/>
              <a:gd name="T21" fmla="*/ 111944 h 469"/>
              <a:gd name="T22" fmla="*/ 5648 w 877"/>
              <a:gd name="T23" fmla="*/ 98743 h 469"/>
              <a:gd name="T24" fmla="*/ 5648 w 877"/>
              <a:gd name="T25" fmla="*/ 95047 h 469"/>
              <a:gd name="T26" fmla="*/ 9992 w 877"/>
              <a:gd name="T27" fmla="*/ 76038 h 469"/>
              <a:gd name="T28" fmla="*/ 19115 w 877"/>
              <a:gd name="T29" fmla="*/ 59140 h 469"/>
              <a:gd name="T30" fmla="*/ 23460 w 877"/>
              <a:gd name="T31" fmla="*/ 48580 h 469"/>
              <a:gd name="T32" fmla="*/ 11295 w 877"/>
              <a:gd name="T33" fmla="*/ 26402 h 469"/>
              <a:gd name="T34" fmla="*/ 75157 w 877"/>
              <a:gd name="T35" fmla="*/ 13729 h 469"/>
              <a:gd name="T36" fmla="*/ 147274 w 877"/>
              <a:gd name="T37" fmla="*/ 26402 h 469"/>
              <a:gd name="T38" fmla="*/ 170299 w 877"/>
              <a:gd name="T39" fmla="*/ 6864 h 469"/>
              <a:gd name="T40" fmla="*/ 210701 w 877"/>
              <a:gd name="T41" fmla="*/ 0 h 469"/>
              <a:gd name="T42" fmla="*/ 251538 w 877"/>
              <a:gd name="T43" fmla="*/ 20065 h 469"/>
              <a:gd name="T44" fmla="*/ 277170 w 877"/>
              <a:gd name="T45" fmla="*/ 58612 h 469"/>
              <a:gd name="T46" fmla="*/ 314966 w 877"/>
              <a:gd name="T47" fmla="*/ 58612 h 469"/>
              <a:gd name="T48" fmla="*/ 364057 w 877"/>
              <a:gd name="T49" fmla="*/ 81846 h 469"/>
              <a:gd name="T50" fmla="*/ 375352 w 877"/>
              <a:gd name="T51" fmla="*/ 124089 h 469"/>
              <a:gd name="T52" fmla="*/ 349286 w 877"/>
              <a:gd name="T53" fmla="*/ 143626 h 469"/>
              <a:gd name="T54" fmla="*/ 327564 w 877"/>
              <a:gd name="T55" fmla="*/ 165276 h 469"/>
              <a:gd name="T56" fmla="*/ 298892 w 877"/>
              <a:gd name="T57" fmla="*/ 174253 h 469"/>
              <a:gd name="T58" fmla="*/ 288031 w 877"/>
              <a:gd name="T59" fmla="*/ 181117 h 469"/>
              <a:gd name="T60" fmla="*/ 281514 w 877"/>
              <a:gd name="T61" fmla="*/ 189038 h 469"/>
              <a:gd name="T62" fmla="*/ 280645 w 877"/>
              <a:gd name="T63" fmla="*/ 198014 h 469"/>
              <a:gd name="T64" fmla="*/ 283686 w 877"/>
              <a:gd name="T65" fmla="*/ 205935 h 469"/>
              <a:gd name="T66" fmla="*/ 289334 w 877"/>
              <a:gd name="T67" fmla="*/ 211743 h 469"/>
              <a:gd name="T68" fmla="*/ 308884 w 877"/>
              <a:gd name="T69" fmla="*/ 209103 h 469"/>
              <a:gd name="T70" fmla="*/ 321917 w 877"/>
              <a:gd name="T71" fmla="*/ 208047 h 469"/>
              <a:gd name="T72" fmla="*/ 318876 w 877"/>
              <a:gd name="T73" fmla="*/ 212799 h 469"/>
              <a:gd name="T74" fmla="*/ 311056 w 877"/>
              <a:gd name="T75" fmla="*/ 222304 h 469"/>
              <a:gd name="T76" fmla="*/ 303236 w 877"/>
              <a:gd name="T77" fmla="*/ 231281 h 469"/>
              <a:gd name="T78" fmla="*/ 299326 w 877"/>
              <a:gd name="T79" fmla="*/ 221248 h 469"/>
              <a:gd name="T80" fmla="*/ 291506 w 877"/>
              <a:gd name="T81" fmla="*/ 215440 h 469"/>
              <a:gd name="T82" fmla="*/ 289334 w 877"/>
              <a:gd name="T83" fmla="*/ 223360 h 469"/>
              <a:gd name="T84" fmla="*/ 279342 w 877"/>
              <a:gd name="T85" fmla="*/ 233393 h 469"/>
              <a:gd name="T86" fmla="*/ 268916 w 877"/>
              <a:gd name="T87" fmla="*/ 242898 h 469"/>
              <a:gd name="T88" fmla="*/ 265440 w 877"/>
              <a:gd name="T89" fmla="*/ 247650 h 469"/>
              <a:gd name="T90" fmla="*/ 258489 w 877"/>
              <a:gd name="T91" fmla="*/ 245010 h 469"/>
              <a:gd name="T92" fmla="*/ 253710 w 877"/>
              <a:gd name="T93" fmla="*/ 240257 h 469"/>
              <a:gd name="T94" fmla="*/ 249800 w 877"/>
              <a:gd name="T95" fmla="*/ 231809 h 469"/>
              <a:gd name="T96" fmla="*/ 248497 w 877"/>
              <a:gd name="T97" fmla="*/ 215440 h 469"/>
              <a:gd name="T98" fmla="*/ 238071 w 877"/>
              <a:gd name="T99" fmla="*/ 213328 h 469"/>
              <a:gd name="T100" fmla="*/ 225038 w 877"/>
              <a:gd name="T101" fmla="*/ 205407 h 469"/>
              <a:gd name="T102" fmla="*/ 242849 w 877"/>
              <a:gd name="T103" fmla="*/ 200127 h 469"/>
              <a:gd name="T104" fmla="*/ 271522 w 877"/>
              <a:gd name="T105" fmla="*/ 195374 h 469"/>
              <a:gd name="T106" fmla="*/ 214177 w 877"/>
              <a:gd name="T107" fmla="*/ 186926 h 469"/>
              <a:gd name="T108" fmla="*/ 193324 w 877"/>
              <a:gd name="T109" fmla="*/ 175837 h 469"/>
              <a:gd name="T110" fmla="*/ 172905 w 877"/>
              <a:gd name="T111" fmla="*/ 194846 h 469"/>
              <a:gd name="T112" fmla="*/ 165086 w 877"/>
              <a:gd name="T113" fmla="*/ 208575 h 469"/>
              <a:gd name="T114" fmla="*/ 153356 w 877"/>
              <a:gd name="T115" fmla="*/ 211215 h 469"/>
              <a:gd name="T116" fmla="*/ 142495 w 877"/>
              <a:gd name="T117" fmla="*/ 206991 h 469"/>
              <a:gd name="T118" fmla="*/ 132937 w 877"/>
              <a:gd name="T119" fmla="*/ 198542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01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21364 w 107"/>
              <a:gd name="T1" fmla="*/ 0 h 123"/>
              <a:gd name="T2" fmla="*/ 36053 w 107"/>
              <a:gd name="T3" fmla="*/ 16004 h 123"/>
              <a:gd name="T4" fmla="*/ 41839 w 107"/>
              <a:gd name="T5" fmla="*/ 34589 h 123"/>
              <a:gd name="T6" fmla="*/ 47625 w 107"/>
              <a:gd name="T7" fmla="*/ 44398 h 123"/>
              <a:gd name="T8" fmla="*/ 47625 w 107"/>
              <a:gd name="T9" fmla="*/ 60402 h 123"/>
              <a:gd name="T10" fmla="*/ 47625 w 107"/>
              <a:gd name="T11" fmla="*/ 63500 h 123"/>
              <a:gd name="T12" fmla="*/ 39168 w 107"/>
              <a:gd name="T13" fmla="*/ 58854 h 123"/>
              <a:gd name="T14" fmla="*/ 32492 w 107"/>
              <a:gd name="T15" fmla="*/ 54207 h 123"/>
              <a:gd name="T16" fmla="*/ 27151 w 107"/>
              <a:gd name="T17" fmla="*/ 50593 h 123"/>
              <a:gd name="T18" fmla="*/ 24035 w 107"/>
              <a:gd name="T19" fmla="*/ 47496 h 123"/>
              <a:gd name="T20" fmla="*/ 22700 w 107"/>
              <a:gd name="T21" fmla="*/ 42850 h 123"/>
              <a:gd name="T22" fmla="*/ 21364 w 107"/>
              <a:gd name="T23" fmla="*/ 37687 h 123"/>
              <a:gd name="T24" fmla="*/ 17359 w 107"/>
              <a:gd name="T25" fmla="*/ 38203 h 123"/>
              <a:gd name="T26" fmla="*/ 14243 w 107"/>
              <a:gd name="T27" fmla="*/ 37687 h 123"/>
              <a:gd name="T28" fmla="*/ 11572 w 107"/>
              <a:gd name="T29" fmla="*/ 37171 h 123"/>
              <a:gd name="T30" fmla="*/ 9347 w 107"/>
              <a:gd name="T31" fmla="*/ 36138 h 123"/>
              <a:gd name="T32" fmla="*/ 7567 w 107"/>
              <a:gd name="T33" fmla="*/ 34589 h 123"/>
              <a:gd name="T34" fmla="*/ 6231 w 107"/>
              <a:gd name="T35" fmla="*/ 32524 h 123"/>
              <a:gd name="T36" fmla="*/ 4896 w 107"/>
              <a:gd name="T37" fmla="*/ 30459 h 123"/>
              <a:gd name="T38" fmla="*/ 4006 w 107"/>
              <a:gd name="T39" fmla="*/ 27878 h 123"/>
              <a:gd name="T40" fmla="*/ 1780 w 107"/>
              <a:gd name="T41" fmla="*/ 16004 h 123"/>
              <a:gd name="T42" fmla="*/ 0 w 107"/>
              <a:gd name="T43" fmla="*/ 3098 h 123"/>
              <a:gd name="T44" fmla="*/ 15133 w 107"/>
              <a:gd name="T45" fmla="*/ 0 h 123"/>
              <a:gd name="T46" fmla="*/ 21364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2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46802 w 471"/>
              <a:gd name="T1" fmla="*/ 35000 h 234"/>
              <a:gd name="T2" fmla="*/ 73294 w 471"/>
              <a:gd name="T3" fmla="*/ 44925 h 234"/>
              <a:gd name="T4" fmla="*/ 120097 w 471"/>
              <a:gd name="T5" fmla="*/ 54850 h 234"/>
              <a:gd name="T6" fmla="*/ 164250 w 471"/>
              <a:gd name="T7" fmla="*/ 44925 h 234"/>
              <a:gd name="T8" fmla="*/ 169107 w 471"/>
              <a:gd name="T9" fmla="*/ 49627 h 234"/>
              <a:gd name="T10" fmla="*/ 172639 w 471"/>
              <a:gd name="T11" fmla="*/ 59552 h 234"/>
              <a:gd name="T12" fmla="*/ 179262 w 471"/>
              <a:gd name="T13" fmla="*/ 64776 h 234"/>
              <a:gd name="T14" fmla="*/ 187210 w 471"/>
              <a:gd name="T15" fmla="*/ 67388 h 234"/>
              <a:gd name="T16" fmla="*/ 191184 w 471"/>
              <a:gd name="T17" fmla="*/ 70000 h 234"/>
              <a:gd name="T18" fmla="*/ 194716 w 471"/>
              <a:gd name="T19" fmla="*/ 73656 h 234"/>
              <a:gd name="T20" fmla="*/ 197807 w 471"/>
              <a:gd name="T21" fmla="*/ 78880 h 234"/>
              <a:gd name="T22" fmla="*/ 200897 w 471"/>
              <a:gd name="T23" fmla="*/ 88805 h 234"/>
              <a:gd name="T24" fmla="*/ 207962 w 471"/>
              <a:gd name="T25" fmla="*/ 99253 h 234"/>
              <a:gd name="T26" fmla="*/ 154537 w 471"/>
              <a:gd name="T27" fmla="*/ 105522 h 234"/>
              <a:gd name="T28" fmla="*/ 145706 w 471"/>
              <a:gd name="T29" fmla="*/ 117014 h 234"/>
              <a:gd name="T30" fmla="*/ 139966 w 471"/>
              <a:gd name="T31" fmla="*/ 121716 h 234"/>
              <a:gd name="T32" fmla="*/ 135109 w 471"/>
              <a:gd name="T33" fmla="*/ 121716 h 234"/>
              <a:gd name="T34" fmla="*/ 131577 w 471"/>
              <a:gd name="T35" fmla="*/ 120148 h 234"/>
              <a:gd name="T36" fmla="*/ 128928 w 471"/>
              <a:gd name="T37" fmla="*/ 117014 h 234"/>
              <a:gd name="T38" fmla="*/ 127603 w 471"/>
              <a:gd name="T39" fmla="*/ 112835 h 234"/>
              <a:gd name="T40" fmla="*/ 125395 w 471"/>
              <a:gd name="T41" fmla="*/ 103955 h 234"/>
              <a:gd name="T42" fmla="*/ 122746 w 471"/>
              <a:gd name="T43" fmla="*/ 90895 h 234"/>
              <a:gd name="T44" fmla="*/ 118772 w 471"/>
              <a:gd name="T45" fmla="*/ 80970 h 234"/>
              <a:gd name="T46" fmla="*/ 113915 w 471"/>
              <a:gd name="T47" fmla="*/ 77313 h 234"/>
              <a:gd name="T48" fmla="*/ 108617 w 471"/>
              <a:gd name="T49" fmla="*/ 73656 h 234"/>
              <a:gd name="T50" fmla="*/ 104202 w 471"/>
              <a:gd name="T51" fmla="*/ 69477 h 234"/>
              <a:gd name="T52" fmla="*/ 98903 w 471"/>
              <a:gd name="T53" fmla="*/ 73134 h 234"/>
              <a:gd name="T54" fmla="*/ 91397 w 471"/>
              <a:gd name="T55" fmla="*/ 84626 h 234"/>
              <a:gd name="T56" fmla="*/ 88307 w 471"/>
              <a:gd name="T57" fmla="*/ 92462 h 234"/>
              <a:gd name="T58" fmla="*/ 83008 w 471"/>
              <a:gd name="T59" fmla="*/ 99253 h 234"/>
              <a:gd name="T60" fmla="*/ 73736 w 471"/>
              <a:gd name="T61" fmla="*/ 104999 h 234"/>
              <a:gd name="T62" fmla="*/ 64905 w 471"/>
              <a:gd name="T63" fmla="*/ 111268 h 234"/>
              <a:gd name="T64" fmla="*/ 57399 w 471"/>
              <a:gd name="T65" fmla="*/ 114402 h 234"/>
              <a:gd name="T66" fmla="*/ 50335 w 471"/>
              <a:gd name="T67" fmla="*/ 115969 h 234"/>
              <a:gd name="T68" fmla="*/ 42829 w 471"/>
              <a:gd name="T69" fmla="*/ 115447 h 234"/>
              <a:gd name="T70" fmla="*/ 36206 w 471"/>
              <a:gd name="T71" fmla="*/ 113357 h 234"/>
              <a:gd name="T72" fmla="*/ 27817 w 471"/>
              <a:gd name="T73" fmla="*/ 107089 h 234"/>
              <a:gd name="T74" fmla="*/ 26050 w 471"/>
              <a:gd name="T75" fmla="*/ 102910 h 234"/>
              <a:gd name="T76" fmla="*/ 26050 w 471"/>
              <a:gd name="T77" fmla="*/ 70522 h 234"/>
              <a:gd name="T78" fmla="*/ 0 w 471"/>
              <a:gd name="T79" fmla="*/ 51194 h 234"/>
              <a:gd name="T80" fmla="*/ 23401 w 471"/>
              <a:gd name="T81" fmla="*/ 41791 h 234"/>
              <a:gd name="T82" fmla="*/ 37972 w 471"/>
              <a:gd name="T83" fmla="*/ 15672 h 234"/>
              <a:gd name="T84" fmla="*/ 58724 w 471"/>
              <a:gd name="T85" fmla="*/ 0 h 234"/>
              <a:gd name="T86" fmla="*/ 73294 w 471"/>
              <a:gd name="T87" fmla="*/ 21940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3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45514 w 525"/>
              <a:gd name="T1" fmla="*/ 96271 h 241"/>
              <a:gd name="T2" fmla="*/ 74283 w 525"/>
              <a:gd name="T3" fmla="*/ 77016 h 241"/>
              <a:gd name="T4" fmla="*/ 39932 w 525"/>
              <a:gd name="T5" fmla="*/ 54640 h 241"/>
              <a:gd name="T6" fmla="*/ 20181 w 525"/>
              <a:gd name="T7" fmla="*/ 60885 h 241"/>
              <a:gd name="T8" fmla="*/ 28339 w 525"/>
              <a:gd name="T9" fmla="*/ 31743 h 241"/>
              <a:gd name="T10" fmla="*/ 17175 w 525"/>
              <a:gd name="T11" fmla="*/ 22376 h 241"/>
              <a:gd name="T12" fmla="*/ 48091 w 525"/>
              <a:gd name="T13" fmla="*/ 13010 h 241"/>
              <a:gd name="T14" fmla="*/ 79865 w 525"/>
              <a:gd name="T15" fmla="*/ 0 h 241"/>
              <a:gd name="T16" fmla="*/ 133967 w 525"/>
              <a:gd name="T17" fmla="*/ 9887 h 241"/>
              <a:gd name="T18" fmla="*/ 188498 w 525"/>
              <a:gd name="T19" fmla="*/ 13010 h 241"/>
              <a:gd name="T20" fmla="*/ 225425 w 525"/>
              <a:gd name="T21" fmla="*/ 28621 h 241"/>
              <a:gd name="T22" fmla="*/ 222849 w 525"/>
              <a:gd name="T23" fmla="*/ 35906 h 241"/>
              <a:gd name="T24" fmla="*/ 218984 w 525"/>
              <a:gd name="T25" fmla="*/ 42671 h 241"/>
              <a:gd name="T26" fmla="*/ 214261 w 525"/>
              <a:gd name="T27" fmla="*/ 47875 h 241"/>
              <a:gd name="T28" fmla="*/ 208250 w 525"/>
              <a:gd name="T29" fmla="*/ 51518 h 241"/>
              <a:gd name="T30" fmla="*/ 189786 w 525"/>
              <a:gd name="T31" fmla="*/ 53599 h 241"/>
              <a:gd name="T32" fmla="*/ 179481 w 525"/>
              <a:gd name="T33" fmla="*/ 55681 h 241"/>
              <a:gd name="T34" fmla="*/ 174758 w 525"/>
              <a:gd name="T35" fmla="*/ 57762 h 241"/>
              <a:gd name="T36" fmla="*/ 171323 w 525"/>
              <a:gd name="T37" fmla="*/ 60885 h 241"/>
              <a:gd name="T38" fmla="*/ 166170 w 525"/>
              <a:gd name="T39" fmla="*/ 70772 h 241"/>
              <a:gd name="T40" fmla="*/ 162306 w 525"/>
              <a:gd name="T41" fmla="*/ 76496 h 241"/>
              <a:gd name="T42" fmla="*/ 156724 w 525"/>
              <a:gd name="T43" fmla="*/ 80139 h 241"/>
              <a:gd name="T44" fmla="*/ 130961 w 525"/>
              <a:gd name="T45" fmla="*/ 86383 h 241"/>
              <a:gd name="T46" fmla="*/ 117221 w 525"/>
              <a:gd name="T47" fmla="*/ 90026 h 241"/>
              <a:gd name="T48" fmla="*/ 111639 w 525"/>
              <a:gd name="T49" fmla="*/ 92628 h 241"/>
              <a:gd name="T50" fmla="*/ 112068 w 525"/>
              <a:gd name="T51" fmla="*/ 99913 h 241"/>
              <a:gd name="T52" fmla="*/ 112927 w 525"/>
              <a:gd name="T53" fmla="*/ 105637 h 241"/>
              <a:gd name="T54" fmla="*/ 117221 w 525"/>
              <a:gd name="T55" fmla="*/ 115525 h 241"/>
              <a:gd name="T56" fmla="*/ 94034 w 525"/>
              <a:gd name="T57" fmla="*/ 118647 h 241"/>
              <a:gd name="T58" fmla="*/ 48091 w 525"/>
              <a:gd name="T59" fmla="*/ 121769 h 241"/>
              <a:gd name="T60" fmla="*/ 8588 w 525"/>
              <a:gd name="T61" fmla="*/ 115525 h 241"/>
              <a:gd name="T62" fmla="*/ 22757 w 525"/>
              <a:gd name="T63" fmla="*/ 86383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4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335902 w 784"/>
              <a:gd name="T1" fmla="*/ 154157 h 430"/>
              <a:gd name="T2" fmla="*/ 328467 w 784"/>
              <a:gd name="T3" fmla="*/ 154685 h 430"/>
              <a:gd name="T4" fmla="*/ 319719 w 784"/>
              <a:gd name="T5" fmla="*/ 159436 h 430"/>
              <a:gd name="T6" fmla="*/ 316220 w 784"/>
              <a:gd name="T7" fmla="*/ 162604 h 430"/>
              <a:gd name="T8" fmla="*/ 313596 w 784"/>
              <a:gd name="T9" fmla="*/ 175274 h 430"/>
              <a:gd name="T10" fmla="*/ 311847 w 784"/>
              <a:gd name="T11" fmla="*/ 190057 h 430"/>
              <a:gd name="T12" fmla="*/ 307910 w 784"/>
              <a:gd name="T13" fmla="*/ 198504 h 430"/>
              <a:gd name="T14" fmla="*/ 293477 w 784"/>
              <a:gd name="T15" fmla="*/ 212230 h 430"/>
              <a:gd name="T16" fmla="*/ 276857 w 784"/>
              <a:gd name="T17" fmla="*/ 221733 h 430"/>
              <a:gd name="T18" fmla="*/ 267672 w 784"/>
              <a:gd name="T19" fmla="*/ 223844 h 430"/>
              <a:gd name="T20" fmla="*/ 256738 w 784"/>
              <a:gd name="T21" fmla="*/ 226484 h 430"/>
              <a:gd name="T22" fmla="*/ 247990 w 784"/>
              <a:gd name="T23" fmla="*/ 225956 h 430"/>
              <a:gd name="T24" fmla="*/ 238368 w 784"/>
              <a:gd name="T25" fmla="*/ 204839 h 430"/>
              <a:gd name="T26" fmla="*/ 225247 w 784"/>
              <a:gd name="T27" fmla="*/ 181610 h 430"/>
              <a:gd name="T28" fmla="*/ 209064 w 784"/>
              <a:gd name="T29" fmla="*/ 176330 h 430"/>
              <a:gd name="T30" fmla="*/ 195943 w 784"/>
              <a:gd name="T31" fmla="*/ 166299 h 430"/>
              <a:gd name="T32" fmla="*/ 182384 w 784"/>
              <a:gd name="T33" fmla="*/ 155213 h 430"/>
              <a:gd name="T34" fmla="*/ 163140 w 784"/>
              <a:gd name="T35" fmla="*/ 144654 h 430"/>
              <a:gd name="T36" fmla="*/ 133836 w 784"/>
              <a:gd name="T37" fmla="*/ 136207 h 430"/>
              <a:gd name="T38" fmla="*/ 79602 w 784"/>
              <a:gd name="T39" fmla="*/ 149406 h 430"/>
              <a:gd name="T40" fmla="*/ 66043 w 784"/>
              <a:gd name="T41" fmla="*/ 161548 h 430"/>
              <a:gd name="T42" fmla="*/ 55546 w 784"/>
              <a:gd name="T43" fmla="*/ 162604 h 430"/>
              <a:gd name="T44" fmla="*/ 28867 w 784"/>
              <a:gd name="T45" fmla="*/ 133040 h 430"/>
              <a:gd name="T46" fmla="*/ 28867 w 784"/>
              <a:gd name="T47" fmla="*/ 107699 h 430"/>
              <a:gd name="T48" fmla="*/ 17495 w 784"/>
              <a:gd name="T49" fmla="*/ 94500 h 430"/>
              <a:gd name="T50" fmla="*/ 18370 w 784"/>
              <a:gd name="T51" fmla="*/ 105059 h 430"/>
              <a:gd name="T52" fmla="*/ 15745 w 784"/>
              <a:gd name="T53" fmla="*/ 115090 h 430"/>
              <a:gd name="T54" fmla="*/ 13121 w 784"/>
              <a:gd name="T55" fmla="*/ 116674 h 430"/>
              <a:gd name="T56" fmla="*/ 13559 w 784"/>
              <a:gd name="T57" fmla="*/ 107171 h 430"/>
              <a:gd name="T58" fmla="*/ 11809 w 784"/>
              <a:gd name="T59" fmla="*/ 91861 h 430"/>
              <a:gd name="T60" fmla="*/ 14433 w 784"/>
              <a:gd name="T61" fmla="*/ 86053 h 430"/>
              <a:gd name="T62" fmla="*/ 17495 w 784"/>
              <a:gd name="T63" fmla="*/ 80246 h 430"/>
              <a:gd name="T64" fmla="*/ 11809 w 784"/>
              <a:gd name="T65" fmla="*/ 68104 h 430"/>
              <a:gd name="T66" fmla="*/ 3062 w 784"/>
              <a:gd name="T67" fmla="*/ 66520 h 430"/>
              <a:gd name="T68" fmla="*/ 0 w 784"/>
              <a:gd name="T69" fmla="*/ 61768 h 430"/>
              <a:gd name="T70" fmla="*/ 1312 w 784"/>
              <a:gd name="T71" fmla="*/ 54905 h 430"/>
              <a:gd name="T72" fmla="*/ 4811 w 784"/>
              <a:gd name="T73" fmla="*/ 49626 h 430"/>
              <a:gd name="T74" fmla="*/ 11809 w 784"/>
              <a:gd name="T75" fmla="*/ 48570 h 430"/>
              <a:gd name="T76" fmla="*/ 17932 w 784"/>
              <a:gd name="T77" fmla="*/ 52266 h 430"/>
              <a:gd name="T78" fmla="*/ 24930 w 784"/>
              <a:gd name="T79" fmla="*/ 54905 h 430"/>
              <a:gd name="T80" fmla="*/ 31053 w 784"/>
              <a:gd name="T81" fmla="*/ 48570 h 430"/>
              <a:gd name="T82" fmla="*/ 36302 w 784"/>
              <a:gd name="T83" fmla="*/ 40651 h 430"/>
              <a:gd name="T84" fmla="*/ 38051 w 784"/>
              <a:gd name="T85" fmla="*/ 33788 h 430"/>
              <a:gd name="T86" fmla="*/ 34115 w 784"/>
              <a:gd name="T87" fmla="*/ 29036 h 430"/>
              <a:gd name="T88" fmla="*/ 24055 w 784"/>
              <a:gd name="T89" fmla="*/ 25869 h 430"/>
              <a:gd name="T90" fmla="*/ 20557 w 784"/>
              <a:gd name="T91" fmla="*/ 21117 h 430"/>
              <a:gd name="T92" fmla="*/ 17932 w 784"/>
              <a:gd name="T93" fmla="*/ 14782 h 430"/>
              <a:gd name="T94" fmla="*/ 46799 w 784"/>
              <a:gd name="T95" fmla="*/ 22701 h 430"/>
              <a:gd name="T96" fmla="*/ 95785 w 784"/>
              <a:gd name="T97" fmla="*/ 39067 h 430"/>
              <a:gd name="T98" fmla="*/ 119403 w 784"/>
              <a:gd name="T99" fmla="*/ 0 h 430"/>
              <a:gd name="T100" fmla="*/ 163140 w 784"/>
              <a:gd name="T101" fmla="*/ 22701 h 430"/>
              <a:gd name="T102" fmla="*/ 203378 w 784"/>
              <a:gd name="T103" fmla="*/ 48570 h 430"/>
              <a:gd name="T104" fmla="*/ 258487 w 784"/>
              <a:gd name="T105" fmla="*/ 110866 h 430"/>
              <a:gd name="T106" fmla="*/ 316658 w 784"/>
              <a:gd name="T107" fmla="*/ 139903 h 430"/>
              <a:gd name="T108" fmla="*/ 340276 w 784"/>
              <a:gd name="T109" fmla="*/ 155741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5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13165 w 246"/>
              <a:gd name="T1" fmla="*/ 14187 h 284"/>
              <a:gd name="T2" fmla="*/ 12287 w 246"/>
              <a:gd name="T3" fmla="*/ 12611 h 284"/>
              <a:gd name="T4" fmla="*/ 10532 w 246"/>
              <a:gd name="T5" fmla="*/ 8932 h 284"/>
              <a:gd name="T6" fmla="*/ 15359 w 246"/>
              <a:gd name="T7" fmla="*/ 2627 h 284"/>
              <a:gd name="T8" fmla="*/ 29401 w 246"/>
              <a:gd name="T9" fmla="*/ 525 h 284"/>
              <a:gd name="T10" fmla="*/ 55291 w 246"/>
              <a:gd name="T11" fmla="*/ 6305 h 284"/>
              <a:gd name="T12" fmla="*/ 57486 w 246"/>
              <a:gd name="T13" fmla="*/ 15763 h 284"/>
              <a:gd name="T14" fmla="*/ 60996 w 246"/>
              <a:gd name="T15" fmla="*/ 24170 h 284"/>
              <a:gd name="T16" fmla="*/ 66262 w 246"/>
              <a:gd name="T17" fmla="*/ 29950 h 284"/>
              <a:gd name="T18" fmla="*/ 72405 w 246"/>
              <a:gd name="T19" fmla="*/ 35204 h 284"/>
              <a:gd name="T20" fmla="*/ 83815 w 246"/>
              <a:gd name="T21" fmla="*/ 45713 h 284"/>
              <a:gd name="T22" fmla="*/ 89081 w 246"/>
              <a:gd name="T23" fmla="*/ 53069 h 284"/>
              <a:gd name="T24" fmla="*/ 93030 w 246"/>
              <a:gd name="T25" fmla="*/ 61476 h 284"/>
              <a:gd name="T26" fmla="*/ 99174 w 246"/>
              <a:gd name="T27" fmla="*/ 61476 h 284"/>
              <a:gd name="T28" fmla="*/ 96979 w 246"/>
              <a:gd name="T29" fmla="*/ 65155 h 284"/>
              <a:gd name="T30" fmla="*/ 96979 w 246"/>
              <a:gd name="T31" fmla="*/ 67782 h 284"/>
              <a:gd name="T32" fmla="*/ 100051 w 246"/>
              <a:gd name="T33" fmla="*/ 73562 h 284"/>
              <a:gd name="T34" fmla="*/ 104878 w 246"/>
              <a:gd name="T35" fmla="*/ 80918 h 284"/>
              <a:gd name="T36" fmla="*/ 107072 w 246"/>
              <a:gd name="T37" fmla="*/ 85121 h 284"/>
              <a:gd name="T38" fmla="*/ 107950 w 246"/>
              <a:gd name="T39" fmla="*/ 90901 h 284"/>
              <a:gd name="T40" fmla="*/ 105756 w 246"/>
              <a:gd name="T41" fmla="*/ 96681 h 284"/>
              <a:gd name="T42" fmla="*/ 102245 w 246"/>
              <a:gd name="T43" fmla="*/ 100885 h 284"/>
              <a:gd name="T44" fmla="*/ 97857 w 246"/>
              <a:gd name="T45" fmla="*/ 104037 h 284"/>
              <a:gd name="T46" fmla="*/ 96541 w 246"/>
              <a:gd name="T47" fmla="*/ 107190 h 284"/>
              <a:gd name="T48" fmla="*/ 82937 w 246"/>
              <a:gd name="T49" fmla="*/ 112970 h 284"/>
              <a:gd name="T50" fmla="*/ 71967 w 246"/>
              <a:gd name="T51" fmla="*/ 120851 h 284"/>
              <a:gd name="T52" fmla="*/ 49587 w 246"/>
              <a:gd name="T53" fmla="*/ 139242 h 284"/>
              <a:gd name="T54" fmla="*/ 38616 w 246"/>
              <a:gd name="T55" fmla="*/ 121377 h 284"/>
              <a:gd name="T56" fmla="*/ 34667 w 246"/>
              <a:gd name="T57" fmla="*/ 115597 h 284"/>
              <a:gd name="T58" fmla="*/ 31595 w 246"/>
              <a:gd name="T59" fmla="*/ 113495 h 284"/>
              <a:gd name="T60" fmla="*/ 26329 w 246"/>
              <a:gd name="T61" fmla="*/ 114021 h 284"/>
              <a:gd name="T62" fmla="*/ 23696 w 246"/>
              <a:gd name="T63" fmla="*/ 116122 h 284"/>
              <a:gd name="T64" fmla="*/ 21502 w 246"/>
              <a:gd name="T65" fmla="*/ 119800 h 284"/>
              <a:gd name="T66" fmla="*/ 21063 w 246"/>
              <a:gd name="T67" fmla="*/ 124004 h 284"/>
              <a:gd name="T68" fmla="*/ 19747 w 246"/>
              <a:gd name="T69" fmla="*/ 135038 h 284"/>
              <a:gd name="T70" fmla="*/ 17992 w 246"/>
              <a:gd name="T71" fmla="*/ 141869 h 284"/>
              <a:gd name="T72" fmla="*/ 14481 w 246"/>
              <a:gd name="T73" fmla="*/ 149225 h 284"/>
              <a:gd name="T74" fmla="*/ 11409 w 246"/>
              <a:gd name="T75" fmla="*/ 127682 h 284"/>
              <a:gd name="T76" fmla="*/ 7460 w 246"/>
              <a:gd name="T77" fmla="*/ 119275 h 284"/>
              <a:gd name="T78" fmla="*/ 4827 w 246"/>
              <a:gd name="T79" fmla="*/ 116122 h 284"/>
              <a:gd name="T80" fmla="*/ 0 w 246"/>
              <a:gd name="T81" fmla="*/ 113495 h 284"/>
              <a:gd name="T82" fmla="*/ 439 w 246"/>
              <a:gd name="T83" fmla="*/ 107190 h 284"/>
              <a:gd name="T84" fmla="*/ 1755 w 246"/>
              <a:gd name="T85" fmla="*/ 101410 h 284"/>
              <a:gd name="T86" fmla="*/ 6582 w 246"/>
              <a:gd name="T87" fmla="*/ 92477 h 284"/>
              <a:gd name="T88" fmla="*/ 13603 w 246"/>
              <a:gd name="T89" fmla="*/ 84596 h 284"/>
              <a:gd name="T90" fmla="*/ 20186 w 246"/>
              <a:gd name="T91" fmla="*/ 74087 h 284"/>
              <a:gd name="T92" fmla="*/ 14481 w 246"/>
              <a:gd name="T93" fmla="*/ 23119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06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48637 w 160"/>
              <a:gd name="T1" fmla="*/ 0 h 117"/>
              <a:gd name="T2" fmla="*/ 48637 w 160"/>
              <a:gd name="T3" fmla="*/ 4640 h 117"/>
              <a:gd name="T4" fmla="*/ 48637 w 160"/>
              <a:gd name="T5" fmla="*/ 9281 h 117"/>
              <a:gd name="T6" fmla="*/ 49064 w 160"/>
              <a:gd name="T7" fmla="*/ 12890 h 117"/>
              <a:gd name="T8" fmla="*/ 49917 w 160"/>
              <a:gd name="T9" fmla="*/ 16499 h 117"/>
              <a:gd name="T10" fmla="*/ 50771 w 160"/>
              <a:gd name="T11" fmla="*/ 17530 h 117"/>
              <a:gd name="T12" fmla="*/ 51624 w 160"/>
              <a:gd name="T13" fmla="*/ 19077 h 117"/>
              <a:gd name="T14" fmla="*/ 52477 w 160"/>
              <a:gd name="T15" fmla="*/ 19593 h 117"/>
              <a:gd name="T16" fmla="*/ 54184 w 160"/>
              <a:gd name="T17" fmla="*/ 20108 h 117"/>
              <a:gd name="T18" fmla="*/ 55890 w 160"/>
              <a:gd name="T19" fmla="*/ 20624 h 117"/>
              <a:gd name="T20" fmla="*/ 57597 w 160"/>
              <a:gd name="T21" fmla="*/ 20108 h 117"/>
              <a:gd name="T22" fmla="*/ 59730 w 160"/>
              <a:gd name="T23" fmla="*/ 19593 h 117"/>
              <a:gd name="T24" fmla="*/ 62290 w 160"/>
              <a:gd name="T25" fmla="*/ 18562 h 117"/>
              <a:gd name="T26" fmla="*/ 63570 w 160"/>
              <a:gd name="T27" fmla="*/ 22171 h 117"/>
              <a:gd name="T28" fmla="*/ 65276 w 160"/>
              <a:gd name="T29" fmla="*/ 26811 h 117"/>
              <a:gd name="T30" fmla="*/ 66983 w 160"/>
              <a:gd name="T31" fmla="*/ 32998 h 117"/>
              <a:gd name="T32" fmla="*/ 68263 w 160"/>
              <a:gd name="T33" fmla="*/ 38154 h 117"/>
              <a:gd name="T34" fmla="*/ 56744 w 160"/>
              <a:gd name="T35" fmla="*/ 45373 h 117"/>
              <a:gd name="T36" fmla="*/ 45224 w 160"/>
              <a:gd name="T37" fmla="*/ 52591 h 117"/>
              <a:gd name="T38" fmla="*/ 39251 w 160"/>
              <a:gd name="T39" fmla="*/ 55169 h 117"/>
              <a:gd name="T40" fmla="*/ 32425 w 160"/>
              <a:gd name="T41" fmla="*/ 58263 h 117"/>
              <a:gd name="T42" fmla="*/ 26452 w 160"/>
              <a:gd name="T43" fmla="*/ 59809 h 117"/>
              <a:gd name="T44" fmla="*/ 20052 w 160"/>
              <a:gd name="T45" fmla="*/ 60325 h 117"/>
              <a:gd name="T46" fmla="*/ 13653 w 160"/>
              <a:gd name="T47" fmla="*/ 51044 h 117"/>
              <a:gd name="T48" fmla="*/ 8960 w 160"/>
              <a:gd name="T49" fmla="*/ 42795 h 117"/>
              <a:gd name="T50" fmla="*/ 4266 w 160"/>
              <a:gd name="T51" fmla="*/ 35576 h 117"/>
              <a:gd name="T52" fmla="*/ 0 w 160"/>
              <a:gd name="T53" fmla="*/ 28358 h 117"/>
              <a:gd name="T54" fmla="*/ 5546 w 160"/>
              <a:gd name="T55" fmla="*/ 24749 h 117"/>
              <a:gd name="T56" fmla="*/ 17492 w 160"/>
              <a:gd name="T57" fmla="*/ 16499 h 117"/>
              <a:gd name="T58" fmla="*/ 25599 w 160"/>
              <a:gd name="T59" fmla="*/ 11859 h 117"/>
              <a:gd name="T60" fmla="*/ 33278 w 160"/>
              <a:gd name="T61" fmla="*/ 7218 h 117"/>
              <a:gd name="T62" fmla="*/ 41384 w 160"/>
              <a:gd name="T63" fmla="*/ 3094 h 117"/>
              <a:gd name="T64" fmla="*/ 4863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07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8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43091 w 556"/>
              <a:gd name="T1" fmla="*/ 32688 h 819"/>
              <a:gd name="T2" fmla="*/ 49247 w 556"/>
              <a:gd name="T3" fmla="*/ 29525 h 819"/>
              <a:gd name="T4" fmla="*/ 56722 w 556"/>
              <a:gd name="T5" fmla="*/ 36379 h 819"/>
              <a:gd name="T6" fmla="*/ 65516 w 556"/>
              <a:gd name="T7" fmla="*/ 44814 h 819"/>
              <a:gd name="T8" fmla="*/ 75189 w 556"/>
              <a:gd name="T9" fmla="*/ 48505 h 819"/>
              <a:gd name="T10" fmla="*/ 94536 w 556"/>
              <a:gd name="T11" fmla="*/ 46396 h 819"/>
              <a:gd name="T12" fmla="*/ 113004 w 556"/>
              <a:gd name="T13" fmla="*/ 43233 h 819"/>
              <a:gd name="T14" fmla="*/ 127954 w 556"/>
              <a:gd name="T15" fmla="*/ 41651 h 819"/>
              <a:gd name="T16" fmla="*/ 132351 w 556"/>
              <a:gd name="T17" fmla="*/ 39015 h 819"/>
              <a:gd name="T18" fmla="*/ 132351 w 556"/>
              <a:gd name="T19" fmla="*/ 35852 h 819"/>
              <a:gd name="T20" fmla="*/ 156095 w 556"/>
              <a:gd name="T21" fmla="*/ 33215 h 819"/>
              <a:gd name="T22" fmla="*/ 190831 w 556"/>
              <a:gd name="T23" fmla="*/ 23725 h 819"/>
              <a:gd name="T24" fmla="*/ 210618 w 556"/>
              <a:gd name="T25" fmla="*/ 14762 h 819"/>
              <a:gd name="T26" fmla="*/ 226007 w 556"/>
              <a:gd name="T27" fmla="*/ 4218 h 819"/>
              <a:gd name="T28" fmla="*/ 240518 w 556"/>
              <a:gd name="T29" fmla="*/ 16344 h 819"/>
              <a:gd name="T30" fmla="*/ 244035 w 556"/>
              <a:gd name="T31" fmla="*/ 30052 h 819"/>
              <a:gd name="T32" fmla="*/ 242716 w 556"/>
              <a:gd name="T33" fmla="*/ 59577 h 819"/>
              <a:gd name="T34" fmla="*/ 233922 w 556"/>
              <a:gd name="T35" fmla="*/ 91738 h 819"/>
              <a:gd name="T36" fmla="*/ 220731 w 556"/>
              <a:gd name="T37" fmla="*/ 121790 h 819"/>
              <a:gd name="T38" fmla="*/ 196547 w 556"/>
              <a:gd name="T39" fmla="*/ 169240 h 819"/>
              <a:gd name="T40" fmla="*/ 185994 w 556"/>
              <a:gd name="T41" fmla="*/ 197711 h 819"/>
              <a:gd name="T42" fmla="*/ 180278 w 556"/>
              <a:gd name="T43" fmla="*/ 218800 h 819"/>
              <a:gd name="T44" fmla="*/ 166648 w 556"/>
              <a:gd name="T45" fmla="*/ 249379 h 819"/>
              <a:gd name="T46" fmla="*/ 145102 w 556"/>
              <a:gd name="T47" fmla="*/ 279958 h 819"/>
              <a:gd name="T48" fmla="*/ 126635 w 556"/>
              <a:gd name="T49" fmla="*/ 298411 h 819"/>
              <a:gd name="T50" fmla="*/ 105089 w 556"/>
              <a:gd name="T51" fmla="*/ 316337 h 819"/>
              <a:gd name="T52" fmla="*/ 73870 w 556"/>
              <a:gd name="T53" fmla="*/ 343226 h 819"/>
              <a:gd name="T54" fmla="*/ 62878 w 556"/>
              <a:gd name="T55" fmla="*/ 358515 h 819"/>
              <a:gd name="T56" fmla="*/ 57601 w 556"/>
              <a:gd name="T57" fmla="*/ 369060 h 819"/>
              <a:gd name="T58" fmla="*/ 51006 w 556"/>
              <a:gd name="T59" fmla="*/ 378023 h 819"/>
              <a:gd name="T60" fmla="*/ 31219 w 556"/>
              <a:gd name="T61" fmla="*/ 392785 h 819"/>
              <a:gd name="T62" fmla="*/ 8354 w 556"/>
              <a:gd name="T63" fmla="*/ 422310 h 819"/>
              <a:gd name="T64" fmla="*/ 879 w 556"/>
              <a:gd name="T65" fmla="*/ 297357 h 819"/>
              <a:gd name="T66" fmla="*/ 1319 w 556"/>
              <a:gd name="T67" fmla="*/ 292084 h 819"/>
              <a:gd name="T68" fmla="*/ 11872 w 556"/>
              <a:gd name="T69" fmla="*/ 281013 h 819"/>
              <a:gd name="T70" fmla="*/ 18468 w 556"/>
              <a:gd name="T71" fmla="*/ 272050 h 819"/>
              <a:gd name="T72" fmla="*/ 26382 w 556"/>
              <a:gd name="T73" fmla="*/ 262032 h 819"/>
              <a:gd name="T74" fmla="*/ 48807 w 556"/>
              <a:gd name="T75" fmla="*/ 253070 h 819"/>
              <a:gd name="T76" fmla="*/ 52325 w 556"/>
              <a:gd name="T77" fmla="*/ 247797 h 819"/>
              <a:gd name="T78" fmla="*/ 56722 w 556"/>
              <a:gd name="T79" fmla="*/ 238307 h 819"/>
              <a:gd name="T80" fmla="*/ 66835 w 556"/>
              <a:gd name="T81" fmla="*/ 231980 h 819"/>
              <a:gd name="T82" fmla="*/ 76508 w 556"/>
              <a:gd name="T83" fmla="*/ 231453 h 819"/>
              <a:gd name="T84" fmla="*/ 86182 w 556"/>
              <a:gd name="T85" fmla="*/ 231453 h 819"/>
              <a:gd name="T86" fmla="*/ 100252 w 556"/>
              <a:gd name="T87" fmla="*/ 226181 h 819"/>
              <a:gd name="T88" fmla="*/ 110366 w 556"/>
              <a:gd name="T89" fmla="*/ 213527 h 819"/>
              <a:gd name="T90" fmla="*/ 116521 w 556"/>
              <a:gd name="T91" fmla="*/ 199820 h 819"/>
              <a:gd name="T92" fmla="*/ 130152 w 556"/>
              <a:gd name="T93" fmla="*/ 182948 h 819"/>
              <a:gd name="T94" fmla="*/ 155655 w 556"/>
              <a:gd name="T95" fmla="*/ 154478 h 819"/>
              <a:gd name="T96" fmla="*/ 165768 w 556"/>
              <a:gd name="T97" fmla="*/ 140243 h 819"/>
              <a:gd name="T98" fmla="*/ 142464 w 556"/>
              <a:gd name="T99" fmla="*/ 129698 h 819"/>
              <a:gd name="T100" fmla="*/ 113004 w 556"/>
              <a:gd name="T101" fmla="*/ 120208 h 819"/>
              <a:gd name="T102" fmla="*/ 80905 w 556"/>
              <a:gd name="T103" fmla="*/ 110191 h 819"/>
              <a:gd name="T104" fmla="*/ 65516 w 556"/>
              <a:gd name="T105" fmla="*/ 98592 h 819"/>
              <a:gd name="T106" fmla="*/ 49247 w 556"/>
              <a:gd name="T107" fmla="*/ 81193 h 819"/>
              <a:gd name="T108" fmla="*/ 39134 w 556"/>
              <a:gd name="T109" fmla="*/ 63795 h 819"/>
              <a:gd name="T110" fmla="*/ 33857 w 556"/>
              <a:gd name="T111" fmla="*/ 42178 h 819"/>
              <a:gd name="T112" fmla="*/ 28581 w 556"/>
              <a:gd name="T113" fmla="*/ 45869 h 819"/>
              <a:gd name="T114" fmla="*/ 36935 w 556"/>
              <a:gd name="T115" fmla="*/ 35852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9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26138 w 86"/>
              <a:gd name="T1" fmla="*/ 0 h 97"/>
              <a:gd name="T2" fmla="*/ 24809 w 86"/>
              <a:gd name="T3" fmla="*/ 1211 h 97"/>
              <a:gd name="T4" fmla="*/ 23037 w 86"/>
              <a:gd name="T5" fmla="*/ 1817 h 97"/>
              <a:gd name="T6" fmla="*/ 20379 w 86"/>
              <a:gd name="T7" fmla="*/ 1817 h 97"/>
              <a:gd name="T8" fmla="*/ 17721 w 86"/>
              <a:gd name="T9" fmla="*/ 1817 h 97"/>
              <a:gd name="T10" fmla="*/ 14620 w 86"/>
              <a:gd name="T11" fmla="*/ 1817 h 97"/>
              <a:gd name="T12" fmla="*/ 11962 w 86"/>
              <a:gd name="T13" fmla="*/ 1817 h 97"/>
              <a:gd name="T14" fmla="*/ 10190 w 86"/>
              <a:gd name="T15" fmla="*/ 2422 h 97"/>
              <a:gd name="T16" fmla="*/ 8860 w 86"/>
              <a:gd name="T17" fmla="*/ 3633 h 97"/>
              <a:gd name="T18" fmla="*/ 7088 w 86"/>
              <a:gd name="T19" fmla="*/ 5450 h 97"/>
              <a:gd name="T20" fmla="*/ 5759 w 86"/>
              <a:gd name="T21" fmla="*/ 7266 h 97"/>
              <a:gd name="T22" fmla="*/ 4873 w 86"/>
              <a:gd name="T23" fmla="*/ 9083 h 97"/>
              <a:gd name="T24" fmla="*/ 3544 w 86"/>
              <a:gd name="T25" fmla="*/ 12111 h 97"/>
              <a:gd name="T26" fmla="*/ 1772 w 86"/>
              <a:gd name="T27" fmla="*/ 17561 h 97"/>
              <a:gd name="T28" fmla="*/ 886 w 86"/>
              <a:gd name="T29" fmla="*/ 23010 h 97"/>
              <a:gd name="T30" fmla="*/ 0 w 86"/>
              <a:gd name="T31" fmla="*/ 34516 h 97"/>
              <a:gd name="T32" fmla="*/ 0 w 86"/>
              <a:gd name="T33" fmla="*/ 45415 h 97"/>
              <a:gd name="T34" fmla="*/ 0 w 86"/>
              <a:gd name="T35" fmla="*/ 49048 h 97"/>
              <a:gd name="T36" fmla="*/ 443 w 86"/>
              <a:gd name="T37" fmla="*/ 52076 h 97"/>
              <a:gd name="T38" fmla="*/ 1329 w 86"/>
              <a:gd name="T39" fmla="*/ 54498 h 97"/>
              <a:gd name="T40" fmla="*/ 3101 w 86"/>
              <a:gd name="T41" fmla="*/ 56315 h 97"/>
              <a:gd name="T42" fmla="*/ 4430 w 86"/>
              <a:gd name="T43" fmla="*/ 57526 h 97"/>
              <a:gd name="T44" fmla="*/ 5759 w 86"/>
              <a:gd name="T45" fmla="*/ 58131 h 97"/>
              <a:gd name="T46" fmla="*/ 7974 w 86"/>
              <a:gd name="T47" fmla="*/ 58737 h 97"/>
              <a:gd name="T48" fmla="*/ 9303 w 86"/>
              <a:gd name="T49" fmla="*/ 58737 h 97"/>
              <a:gd name="T50" fmla="*/ 17721 w 86"/>
              <a:gd name="T51" fmla="*/ 57526 h 97"/>
              <a:gd name="T52" fmla="*/ 23480 w 86"/>
              <a:gd name="T53" fmla="*/ 56315 h 97"/>
              <a:gd name="T54" fmla="*/ 38100 w 86"/>
              <a:gd name="T55" fmla="*/ 41176 h 97"/>
              <a:gd name="T56" fmla="*/ 26138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0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78300 w 845"/>
              <a:gd name="T1" fmla="*/ 18812 h 720"/>
              <a:gd name="T2" fmla="*/ 88196 w 845"/>
              <a:gd name="T3" fmla="*/ 14631 h 720"/>
              <a:gd name="T4" fmla="*/ 106265 w 845"/>
              <a:gd name="T5" fmla="*/ 0 h 720"/>
              <a:gd name="T6" fmla="*/ 117451 w 845"/>
              <a:gd name="T7" fmla="*/ 6271 h 720"/>
              <a:gd name="T8" fmla="*/ 140683 w 845"/>
              <a:gd name="T9" fmla="*/ 19334 h 720"/>
              <a:gd name="T10" fmla="*/ 163485 w 845"/>
              <a:gd name="T11" fmla="*/ 35011 h 720"/>
              <a:gd name="T12" fmla="*/ 183275 w 845"/>
              <a:gd name="T13" fmla="*/ 51210 h 720"/>
              <a:gd name="T14" fmla="*/ 190158 w 845"/>
              <a:gd name="T15" fmla="*/ 65319 h 720"/>
              <a:gd name="T16" fmla="*/ 190589 w 845"/>
              <a:gd name="T17" fmla="*/ 73157 h 720"/>
              <a:gd name="T18" fmla="*/ 197042 w 845"/>
              <a:gd name="T19" fmla="*/ 76815 h 720"/>
              <a:gd name="T20" fmla="*/ 214681 w 845"/>
              <a:gd name="T21" fmla="*/ 93014 h 720"/>
              <a:gd name="T22" fmla="*/ 217693 w 845"/>
              <a:gd name="T23" fmla="*/ 89879 h 720"/>
              <a:gd name="T24" fmla="*/ 209949 w 845"/>
              <a:gd name="T25" fmla="*/ 96149 h 720"/>
              <a:gd name="T26" fmla="*/ 206937 w 845"/>
              <a:gd name="T27" fmla="*/ 105555 h 720"/>
              <a:gd name="T28" fmla="*/ 206937 w 845"/>
              <a:gd name="T29" fmla="*/ 131683 h 720"/>
              <a:gd name="T30" fmla="*/ 212100 w 845"/>
              <a:gd name="T31" fmla="*/ 137954 h 720"/>
              <a:gd name="T32" fmla="*/ 226297 w 845"/>
              <a:gd name="T33" fmla="*/ 138476 h 720"/>
              <a:gd name="T34" fmla="*/ 234471 w 845"/>
              <a:gd name="T35" fmla="*/ 166694 h 720"/>
              <a:gd name="T36" fmla="*/ 250820 w 845"/>
              <a:gd name="T37" fmla="*/ 188641 h 720"/>
              <a:gd name="T38" fmla="*/ 277494 w 845"/>
              <a:gd name="T39" fmla="*/ 209021 h 720"/>
              <a:gd name="T40" fmla="*/ 317504 w 845"/>
              <a:gd name="T41" fmla="*/ 224697 h 720"/>
              <a:gd name="T42" fmla="*/ 363538 w 845"/>
              <a:gd name="T43" fmla="*/ 234626 h 720"/>
              <a:gd name="T44" fmla="*/ 348910 w 845"/>
              <a:gd name="T45" fmla="*/ 251870 h 720"/>
              <a:gd name="T46" fmla="*/ 314493 w 845"/>
              <a:gd name="T47" fmla="*/ 285836 h 720"/>
              <a:gd name="T48" fmla="*/ 306318 w 845"/>
              <a:gd name="T49" fmla="*/ 302557 h 720"/>
              <a:gd name="T50" fmla="*/ 299865 w 845"/>
              <a:gd name="T51" fmla="*/ 322414 h 720"/>
              <a:gd name="T52" fmla="*/ 289970 w 845"/>
              <a:gd name="T53" fmla="*/ 328685 h 720"/>
              <a:gd name="T54" fmla="*/ 249529 w 845"/>
              <a:gd name="T55" fmla="*/ 342271 h 720"/>
              <a:gd name="T56" fmla="*/ 240494 w 845"/>
              <a:gd name="T57" fmla="*/ 350632 h 720"/>
              <a:gd name="T58" fmla="*/ 225867 w 845"/>
              <a:gd name="T59" fmla="*/ 355857 h 720"/>
              <a:gd name="T60" fmla="*/ 207367 w 845"/>
              <a:gd name="T61" fmla="*/ 362128 h 720"/>
              <a:gd name="T62" fmla="*/ 198333 w 845"/>
              <a:gd name="T63" fmla="*/ 355335 h 720"/>
              <a:gd name="T64" fmla="*/ 183705 w 845"/>
              <a:gd name="T65" fmla="*/ 354812 h 720"/>
              <a:gd name="T66" fmla="*/ 174240 w 845"/>
              <a:gd name="T67" fmla="*/ 365263 h 720"/>
              <a:gd name="T68" fmla="*/ 167787 w 845"/>
              <a:gd name="T69" fmla="*/ 373102 h 720"/>
              <a:gd name="T70" fmla="*/ 154880 w 845"/>
              <a:gd name="T71" fmla="*/ 376237 h 720"/>
              <a:gd name="T72" fmla="*/ 136811 w 845"/>
              <a:gd name="T73" fmla="*/ 373102 h 720"/>
              <a:gd name="T74" fmla="*/ 124334 w 845"/>
              <a:gd name="T75" fmla="*/ 364741 h 720"/>
              <a:gd name="T76" fmla="*/ 105835 w 845"/>
              <a:gd name="T77" fmla="*/ 350632 h 720"/>
              <a:gd name="T78" fmla="*/ 77870 w 845"/>
              <a:gd name="T79" fmla="*/ 345406 h 720"/>
              <a:gd name="T80" fmla="*/ 60231 w 845"/>
              <a:gd name="T81" fmla="*/ 341226 h 720"/>
              <a:gd name="T82" fmla="*/ 64964 w 845"/>
              <a:gd name="T83" fmla="*/ 320847 h 720"/>
              <a:gd name="T84" fmla="*/ 54638 w 845"/>
              <a:gd name="T85" fmla="*/ 311441 h 720"/>
              <a:gd name="T86" fmla="*/ 46464 w 845"/>
              <a:gd name="T87" fmla="*/ 304647 h 720"/>
              <a:gd name="T88" fmla="*/ 40011 w 845"/>
              <a:gd name="T89" fmla="*/ 287926 h 720"/>
              <a:gd name="T90" fmla="*/ 33127 w 845"/>
              <a:gd name="T91" fmla="*/ 267024 h 720"/>
              <a:gd name="T92" fmla="*/ 21081 w 845"/>
              <a:gd name="T93" fmla="*/ 255528 h 720"/>
              <a:gd name="T94" fmla="*/ 6884 w 845"/>
              <a:gd name="T95" fmla="*/ 249257 h 720"/>
              <a:gd name="T96" fmla="*/ 2151 w 845"/>
              <a:gd name="T97" fmla="*/ 246644 h 720"/>
              <a:gd name="T98" fmla="*/ 860 w 845"/>
              <a:gd name="T99" fmla="*/ 234103 h 720"/>
              <a:gd name="T100" fmla="*/ 9035 w 845"/>
              <a:gd name="T101" fmla="*/ 220517 h 720"/>
              <a:gd name="T102" fmla="*/ 23662 w 845"/>
              <a:gd name="T103" fmla="*/ 215814 h 720"/>
              <a:gd name="T104" fmla="*/ 28825 w 845"/>
              <a:gd name="T105" fmla="*/ 167739 h 720"/>
              <a:gd name="T106" fmla="*/ 35278 w 845"/>
              <a:gd name="T107" fmla="*/ 143702 h 720"/>
              <a:gd name="T108" fmla="*/ 40871 w 845"/>
              <a:gd name="T109" fmla="*/ 135863 h 720"/>
              <a:gd name="T110" fmla="*/ 44313 w 845"/>
              <a:gd name="T111" fmla="*/ 123322 h 720"/>
              <a:gd name="T112" fmla="*/ 49906 w 845"/>
              <a:gd name="T113" fmla="*/ 107646 h 720"/>
              <a:gd name="T114" fmla="*/ 63673 w 845"/>
              <a:gd name="T115" fmla="*/ 93014 h 720"/>
              <a:gd name="T116" fmla="*/ 71847 w 845"/>
              <a:gd name="T117" fmla="*/ 83608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1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12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2694 w 33"/>
              <a:gd name="T3" fmla="*/ 9790 h 6"/>
              <a:gd name="T4" fmla="*/ 5773 w 33"/>
              <a:gd name="T5" fmla="*/ 29369 h 6"/>
              <a:gd name="T6" fmla="*/ 8852 w 33"/>
              <a:gd name="T7" fmla="*/ 48948 h 6"/>
              <a:gd name="T8" fmla="*/ 12700 w 33"/>
              <a:gd name="T9" fmla="*/ 5873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3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4762 w 13"/>
              <a:gd name="T1" fmla="*/ 57150 h 30"/>
              <a:gd name="T2" fmla="*/ 4762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314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250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0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0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15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5269 w 47"/>
              <a:gd name="T1" fmla="*/ 0 h 28"/>
              <a:gd name="T2" fmla="*/ 10133 w 47"/>
              <a:gd name="T3" fmla="*/ 0 h 28"/>
              <a:gd name="T4" fmla="*/ 12565 w 47"/>
              <a:gd name="T5" fmla="*/ 4196 h 28"/>
              <a:gd name="T6" fmla="*/ 13376 w 47"/>
              <a:gd name="T7" fmla="*/ 8391 h 28"/>
              <a:gd name="T8" fmla="*/ 13376 w 47"/>
              <a:gd name="T9" fmla="*/ 12587 h 28"/>
              <a:gd name="T10" fmla="*/ 12970 w 47"/>
              <a:gd name="T11" fmla="*/ 16782 h 28"/>
              <a:gd name="T12" fmla="*/ 13376 w 47"/>
              <a:gd name="T13" fmla="*/ 20978 h 28"/>
              <a:gd name="T14" fmla="*/ 14997 w 47"/>
              <a:gd name="T15" fmla="*/ 25173 h 28"/>
              <a:gd name="T16" fmla="*/ 19050 w 47"/>
              <a:gd name="T17" fmla="*/ 25173 h 28"/>
              <a:gd name="T18" fmla="*/ 17023 w 47"/>
              <a:gd name="T19" fmla="*/ 39858 h 28"/>
              <a:gd name="T20" fmla="*/ 14997 w 47"/>
              <a:gd name="T21" fmla="*/ 52445 h 28"/>
              <a:gd name="T22" fmla="*/ 13376 w 47"/>
              <a:gd name="T23" fmla="*/ 56640 h 28"/>
              <a:gd name="T24" fmla="*/ 11349 w 47"/>
              <a:gd name="T25" fmla="*/ 58738 h 28"/>
              <a:gd name="T26" fmla="*/ 6485 w 47"/>
              <a:gd name="T27" fmla="*/ 56640 h 28"/>
              <a:gd name="T28" fmla="*/ 0 w 47"/>
              <a:gd name="T29" fmla="*/ 52445 h 28"/>
              <a:gd name="T30" fmla="*/ 405 w 47"/>
              <a:gd name="T31" fmla="*/ 39858 h 28"/>
              <a:gd name="T32" fmla="*/ 811 w 47"/>
              <a:gd name="T33" fmla="*/ 31467 h 28"/>
              <a:gd name="T34" fmla="*/ 1621 w 47"/>
              <a:gd name="T35" fmla="*/ 27271 h 28"/>
              <a:gd name="T36" fmla="*/ 2432 w 47"/>
              <a:gd name="T37" fmla="*/ 25173 h 28"/>
              <a:gd name="T38" fmla="*/ 3648 w 47"/>
              <a:gd name="T39" fmla="*/ 23076 h 28"/>
              <a:gd name="T40" fmla="*/ 4459 w 47"/>
              <a:gd name="T41" fmla="*/ 18880 h 28"/>
              <a:gd name="T42" fmla="*/ 5269 w 47"/>
              <a:gd name="T43" fmla="*/ 10489 h 28"/>
              <a:gd name="T44" fmla="*/ 5269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6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5841 w 53"/>
              <a:gd name="T1" fmla="*/ 0 h 33"/>
              <a:gd name="T2" fmla="*/ 11682 w 53"/>
              <a:gd name="T3" fmla="*/ 1732 h 33"/>
              <a:gd name="T4" fmla="*/ 15276 w 53"/>
              <a:gd name="T5" fmla="*/ 1732 h 33"/>
              <a:gd name="T6" fmla="*/ 16624 w 53"/>
              <a:gd name="T7" fmla="*/ 5195 h 33"/>
              <a:gd name="T8" fmla="*/ 16624 w 53"/>
              <a:gd name="T9" fmla="*/ 6927 h 33"/>
              <a:gd name="T10" fmla="*/ 16624 w 53"/>
              <a:gd name="T11" fmla="*/ 10391 h 33"/>
              <a:gd name="T12" fmla="*/ 17523 w 53"/>
              <a:gd name="T13" fmla="*/ 13855 h 33"/>
              <a:gd name="T14" fmla="*/ 19769 w 53"/>
              <a:gd name="T15" fmla="*/ 17318 h 33"/>
              <a:gd name="T16" fmla="*/ 23813 w 53"/>
              <a:gd name="T17" fmla="*/ 20782 h 33"/>
              <a:gd name="T18" fmla="*/ 21566 w 53"/>
              <a:gd name="T19" fmla="*/ 38100 h 33"/>
              <a:gd name="T20" fmla="*/ 19769 w 53"/>
              <a:gd name="T21" fmla="*/ 48491 h 33"/>
              <a:gd name="T22" fmla="*/ 18871 w 53"/>
              <a:gd name="T23" fmla="*/ 53686 h 33"/>
              <a:gd name="T24" fmla="*/ 17073 w 53"/>
              <a:gd name="T25" fmla="*/ 55418 h 33"/>
              <a:gd name="T26" fmla="*/ 16175 w 53"/>
              <a:gd name="T27" fmla="*/ 57150 h 33"/>
              <a:gd name="T28" fmla="*/ 15276 w 53"/>
              <a:gd name="T29" fmla="*/ 57150 h 33"/>
              <a:gd name="T30" fmla="*/ 8986 w 53"/>
              <a:gd name="T31" fmla="*/ 51955 h 33"/>
              <a:gd name="T32" fmla="*/ 0 w 53"/>
              <a:gd name="T33" fmla="*/ 41564 h 33"/>
              <a:gd name="T34" fmla="*/ 0 w 53"/>
              <a:gd name="T35" fmla="*/ 32905 h 33"/>
              <a:gd name="T36" fmla="*/ 899 w 53"/>
              <a:gd name="T37" fmla="*/ 27709 h 33"/>
              <a:gd name="T38" fmla="*/ 1797 w 53"/>
              <a:gd name="T39" fmla="*/ 24245 h 33"/>
              <a:gd name="T40" fmla="*/ 3145 w 53"/>
              <a:gd name="T41" fmla="*/ 20782 h 33"/>
              <a:gd name="T42" fmla="*/ 4044 w 53"/>
              <a:gd name="T43" fmla="*/ 19050 h 33"/>
              <a:gd name="T44" fmla="*/ 4942 w 53"/>
              <a:gd name="T45" fmla="*/ 15586 h 33"/>
              <a:gd name="T46" fmla="*/ 5392 w 53"/>
              <a:gd name="T47" fmla="*/ 10391 h 33"/>
              <a:gd name="T48" fmla="*/ 5841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317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2490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1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2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5 w 14"/>
                <a:gd name="T1" fmla="*/ 6 h 19"/>
                <a:gd name="T2" fmla="*/ 0 w 14"/>
                <a:gd name="T3" fmla="*/ 0 h 19"/>
                <a:gd name="T4" fmla="*/ 5 w 14"/>
                <a:gd name="T5" fmla="*/ 6 h 19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3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4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7 w 20"/>
                <a:gd name="T1" fmla="*/ 4 h 12"/>
                <a:gd name="T2" fmla="*/ 4 w 20"/>
                <a:gd name="T3" fmla="*/ 3 h 12"/>
                <a:gd name="T4" fmla="*/ 0 w 20"/>
                <a:gd name="T5" fmla="*/ 2 h 12"/>
                <a:gd name="T6" fmla="*/ 0 w 20"/>
                <a:gd name="T7" fmla="*/ 2 h 12"/>
                <a:gd name="T8" fmla="*/ 1 w 20"/>
                <a:gd name="T9" fmla="*/ 1 h 12"/>
                <a:gd name="T10" fmla="*/ 3 w 20"/>
                <a:gd name="T11" fmla="*/ 0 h 12"/>
                <a:gd name="T12" fmla="*/ 5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5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96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7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3 w 7"/>
                <a:gd name="T1" fmla="*/ 4 h 12"/>
                <a:gd name="T2" fmla="*/ 2 w 7"/>
                <a:gd name="T3" fmla="*/ 2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8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6 h 18"/>
                <a:gd name="T4" fmla="*/ 7 w 20"/>
                <a:gd name="T5" fmla="*/ 6 h 18"/>
                <a:gd name="T6" fmla="*/ 6 w 20"/>
                <a:gd name="T7" fmla="*/ 4 h 18"/>
                <a:gd name="T8" fmla="*/ 5 w 20"/>
                <a:gd name="T9" fmla="*/ 2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9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2 h 18"/>
                <a:gd name="T2" fmla="*/ 2 w 7"/>
                <a:gd name="T3" fmla="*/ 6 h 18"/>
                <a:gd name="T4" fmla="*/ 0 w 7"/>
                <a:gd name="T5" fmla="*/ 6 h 18"/>
                <a:gd name="T6" fmla="*/ 0 w 7"/>
                <a:gd name="T7" fmla="*/ 0 h 18"/>
                <a:gd name="T8" fmla="*/ 2 w 7"/>
                <a:gd name="T9" fmla="*/ 0 h 18"/>
                <a:gd name="T10" fmla="*/ 0 w 7"/>
                <a:gd name="T11" fmla="*/ 2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0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5 w 13"/>
                <a:gd name="T1" fmla="*/ 0 h 18"/>
                <a:gd name="T2" fmla="*/ 4 w 13"/>
                <a:gd name="T3" fmla="*/ 3 h 18"/>
                <a:gd name="T4" fmla="*/ 2 w 13"/>
                <a:gd name="T5" fmla="*/ 6 h 18"/>
                <a:gd name="T6" fmla="*/ 2 w 13"/>
                <a:gd name="T7" fmla="*/ 6 h 18"/>
                <a:gd name="T8" fmla="*/ 1 w 13"/>
                <a:gd name="T9" fmla="*/ 5 h 18"/>
                <a:gd name="T10" fmla="*/ 0 w 13"/>
                <a:gd name="T11" fmla="*/ 3 h 18"/>
                <a:gd name="T12" fmla="*/ 0 w 13"/>
                <a:gd name="T13" fmla="*/ 2 h 18"/>
                <a:gd name="T14" fmla="*/ 2 w 13"/>
                <a:gd name="T15" fmla="*/ 2 h 18"/>
                <a:gd name="T16" fmla="*/ 5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1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26013 w 736"/>
              <a:gd name="T1" fmla="*/ 360469 h 721"/>
              <a:gd name="T2" fmla="*/ 39452 w 736"/>
              <a:gd name="T3" fmla="*/ 351523 h 721"/>
              <a:gd name="T4" fmla="*/ 54626 w 736"/>
              <a:gd name="T5" fmla="*/ 351523 h 721"/>
              <a:gd name="T6" fmla="*/ 84974 w 736"/>
              <a:gd name="T7" fmla="*/ 364152 h 721"/>
              <a:gd name="T8" fmla="*/ 106218 w 736"/>
              <a:gd name="T9" fmla="*/ 370993 h 721"/>
              <a:gd name="T10" fmla="*/ 126594 w 736"/>
              <a:gd name="T11" fmla="*/ 369941 h 721"/>
              <a:gd name="T12" fmla="*/ 264894 w 736"/>
              <a:gd name="T13" fmla="*/ 377308 h 721"/>
              <a:gd name="T14" fmla="*/ 282236 w 736"/>
              <a:gd name="T15" fmla="*/ 372046 h 721"/>
              <a:gd name="T16" fmla="*/ 271831 w 736"/>
              <a:gd name="T17" fmla="*/ 345734 h 721"/>
              <a:gd name="T18" fmla="*/ 287872 w 736"/>
              <a:gd name="T19" fmla="*/ 227858 h 721"/>
              <a:gd name="T20" fmla="*/ 307381 w 736"/>
              <a:gd name="T21" fmla="*/ 225753 h 721"/>
              <a:gd name="T22" fmla="*/ 313451 w 736"/>
              <a:gd name="T23" fmla="*/ 218912 h 721"/>
              <a:gd name="T24" fmla="*/ 318220 w 736"/>
              <a:gd name="T25" fmla="*/ 189443 h 721"/>
              <a:gd name="T26" fmla="*/ 313017 w 736"/>
              <a:gd name="T27" fmla="*/ 158922 h 721"/>
              <a:gd name="T28" fmla="*/ 306948 w 736"/>
              <a:gd name="T29" fmla="*/ 159974 h 721"/>
              <a:gd name="T30" fmla="*/ 293074 w 736"/>
              <a:gd name="T31" fmla="*/ 157869 h 721"/>
              <a:gd name="T32" fmla="*/ 274866 w 736"/>
              <a:gd name="T33" fmla="*/ 157343 h 721"/>
              <a:gd name="T34" fmla="*/ 270097 w 736"/>
              <a:gd name="T35" fmla="*/ 152607 h 721"/>
              <a:gd name="T36" fmla="*/ 267495 w 736"/>
              <a:gd name="T37" fmla="*/ 133137 h 721"/>
              <a:gd name="T38" fmla="*/ 263160 w 736"/>
              <a:gd name="T39" fmla="*/ 115245 h 721"/>
              <a:gd name="T40" fmla="*/ 258825 w 736"/>
              <a:gd name="T41" fmla="*/ 97879 h 721"/>
              <a:gd name="T42" fmla="*/ 263160 w 736"/>
              <a:gd name="T43" fmla="*/ 87881 h 721"/>
              <a:gd name="T44" fmla="*/ 267495 w 736"/>
              <a:gd name="T45" fmla="*/ 77882 h 721"/>
              <a:gd name="T46" fmla="*/ 264894 w 736"/>
              <a:gd name="T47" fmla="*/ 52623 h 721"/>
              <a:gd name="T48" fmla="*/ 235847 w 736"/>
              <a:gd name="T49" fmla="*/ 36836 h 721"/>
              <a:gd name="T50" fmla="*/ 206800 w 736"/>
              <a:gd name="T51" fmla="*/ 34731 h 721"/>
              <a:gd name="T52" fmla="*/ 204198 w 736"/>
              <a:gd name="T53" fmla="*/ 42625 h 721"/>
              <a:gd name="T54" fmla="*/ 200730 w 736"/>
              <a:gd name="T55" fmla="*/ 53149 h 721"/>
              <a:gd name="T56" fmla="*/ 190759 w 736"/>
              <a:gd name="T57" fmla="*/ 64200 h 721"/>
              <a:gd name="T58" fmla="*/ 169949 w 736"/>
              <a:gd name="T59" fmla="*/ 68410 h 721"/>
              <a:gd name="T60" fmla="*/ 157809 w 736"/>
              <a:gd name="T61" fmla="*/ 60517 h 721"/>
              <a:gd name="T62" fmla="*/ 146971 w 736"/>
              <a:gd name="T63" fmla="*/ 43151 h 721"/>
              <a:gd name="T64" fmla="*/ 138300 w 736"/>
              <a:gd name="T65" fmla="*/ 20523 h 721"/>
              <a:gd name="T66" fmla="*/ 135265 w 736"/>
              <a:gd name="T67" fmla="*/ 0 h 721"/>
              <a:gd name="T68" fmla="*/ 13006 w 736"/>
              <a:gd name="T69" fmla="*/ 7893 h 721"/>
              <a:gd name="T70" fmla="*/ 20376 w 736"/>
              <a:gd name="T71" fmla="*/ 15261 h 721"/>
              <a:gd name="T72" fmla="*/ 32516 w 736"/>
              <a:gd name="T73" fmla="*/ 39467 h 721"/>
              <a:gd name="T74" fmla="*/ 44221 w 736"/>
              <a:gd name="T75" fmla="*/ 68410 h 721"/>
              <a:gd name="T76" fmla="*/ 44655 w 736"/>
              <a:gd name="T77" fmla="*/ 89986 h 721"/>
              <a:gd name="T78" fmla="*/ 40319 w 736"/>
              <a:gd name="T79" fmla="*/ 106825 h 721"/>
              <a:gd name="T80" fmla="*/ 41620 w 736"/>
              <a:gd name="T81" fmla="*/ 120507 h 721"/>
              <a:gd name="T82" fmla="*/ 51592 w 736"/>
              <a:gd name="T83" fmla="*/ 143135 h 721"/>
              <a:gd name="T84" fmla="*/ 56794 w 736"/>
              <a:gd name="T85" fmla="*/ 161553 h 721"/>
              <a:gd name="T86" fmla="*/ 55060 w 736"/>
              <a:gd name="T87" fmla="*/ 185234 h 721"/>
              <a:gd name="T88" fmla="*/ 45955 w 736"/>
              <a:gd name="T89" fmla="*/ 212071 h 721"/>
              <a:gd name="T90" fmla="*/ 33383 w 736"/>
              <a:gd name="T91" fmla="*/ 234699 h 721"/>
              <a:gd name="T92" fmla="*/ 17775 w 736"/>
              <a:gd name="T93" fmla="*/ 251012 h 721"/>
              <a:gd name="T94" fmla="*/ 10839 w 736"/>
              <a:gd name="T95" fmla="*/ 311003 h 721"/>
              <a:gd name="T96" fmla="*/ 4769 w 736"/>
              <a:gd name="T97" fmla="*/ 3299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60325 h 31"/>
              <a:gd name="T2" fmla="*/ 4885 w 39"/>
              <a:gd name="T3" fmla="*/ 54487 h 31"/>
              <a:gd name="T4" fmla="*/ 8955 w 39"/>
              <a:gd name="T5" fmla="*/ 54487 h 31"/>
              <a:gd name="T6" fmla="*/ 10583 w 39"/>
              <a:gd name="T7" fmla="*/ 54487 h 31"/>
              <a:gd name="T8" fmla="*/ 12212 w 39"/>
              <a:gd name="T9" fmla="*/ 54487 h 31"/>
              <a:gd name="T10" fmla="*/ 14247 w 39"/>
              <a:gd name="T11" fmla="*/ 52541 h 31"/>
              <a:gd name="T12" fmla="*/ 15875 w 39"/>
              <a:gd name="T13" fmla="*/ 48649 h 31"/>
              <a:gd name="T14" fmla="*/ 15875 w 39"/>
              <a:gd name="T15" fmla="*/ 0 h 31"/>
              <a:gd name="T16" fmla="*/ 10583 w 39"/>
              <a:gd name="T17" fmla="*/ 0 h 31"/>
              <a:gd name="T18" fmla="*/ 6920 w 39"/>
              <a:gd name="T19" fmla="*/ 0 h 31"/>
              <a:gd name="T20" fmla="*/ 3256 w 39"/>
              <a:gd name="T21" fmla="*/ 0 h 31"/>
              <a:gd name="T22" fmla="*/ 0 w 39"/>
              <a:gd name="T23" fmla="*/ 0 h 31"/>
              <a:gd name="T24" fmla="*/ 0 w 39"/>
              <a:gd name="T25" fmla="*/ 60325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395117 w 903"/>
              <a:gd name="T1" fmla="*/ 152770 h 759"/>
              <a:gd name="T2" fmla="*/ 379295 w 903"/>
              <a:gd name="T3" fmla="*/ 203693 h 759"/>
              <a:gd name="T4" fmla="*/ 365670 w 903"/>
              <a:gd name="T5" fmla="*/ 217343 h 759"/>
              <a:gd name="T6" fmla="*/ 334465 w 903"/>
              <a:gd name="T7" fmla="*/ 266166 h 759"/>
              <a:gd name="T8" fmla="*/ 316445 w 903"/>
              <a:gd name="T9" fmla="*/ 294515 h 759"/>
              <a:gd name="T10" fmla="*/ 284361 w 903"/>
              <a:gd name="T11" fmla="*/ 321815 h 759"/>
              <a:gd name="T12" fmla="*/ 256233 w 903"/>
              <a:gd name="T13" fmla="*/ 349639 h 759"/>
              <a:gd name="T14" fmla="*/ 244806 w 903"/>
              <a:gd name="T15" fmla="*/ 366438 h 759"/>
              <a:gd name="T16" fmla="*/ 228544 w 903"/>
              <a:gd name="T17" fmla="*/ 370113 h 759"/>
              <a:gd name="T18" fmla="*/ 217996 w 903"/>
              <a:gd name="T19" fmla="*/ 372738 h 759"/>
              <a:gd name="T20" fmla="*/ 213161 w 903"/>
              <a:gd name="T21" fmla="*/ 381663 h 759"/>
              <a:gd name="T22" fmla="*/ 163497 w 903"/>
              <a:gd name="T23" fmla="*/ 381663 h 759"/>
              <a:gd name="T24" fmla="*/ 148993 w 903"/>
              <a:gd name="T25" fmla="*/ 384287 h 759"/>
              <a:gd name="T26" fmla="*/ 138884 w 903"/>
              <a:gd name="T27" fmla="*/ 384287 h 759"/>
              <a:gd name="T28" fmla="*/ 125699 w 903"/>
              <a:gd name="T29" fmla="*/ 381663 h 759"/>
              <a:gd name="T30" fmla="*/ 115590 w 903"/>
              <a:gd name="T31" fmla="*/ 386912 h 759"/>
              <a:gd name="T32" fmla="*/ 64168 w 903"/>
              <a:gd name="T33" fmla="*/ 398462 h 759"/>
              <a:gd name="T34" fmla="*/ 50983 w 903"/>
              <a:gd name="T35" fmla="*/ 395312 h 759"/>
              <a:gd name="T36" fmla="*/ 39556 w 903"/>
              <a:gd name="T37" fmla="*/ 387962 h 759"/>
              <a:gd name="T38" fmla="*/ 33403 w 903"/>
              <a:gd name="T39" fmla="*/ 377463 h 759"/>
              <a:gd name="T40" fmla="*/ 34721 w 903"/>
              <a:gd name="T41" fmla="*/ 365913 h 759"/>
              <a:gd name="T42" fmla="*/ 32963 w 903"/>
              <a:gd name="T43" fmla="*/ 329689 h 759"/>
              <a:gd name="T44" fmla="*/ 34721 w 903"/>
              <a:gd name="T45" fmla="*/ 319190 h 759"/>
              <a:gd name="T46" fmla="*/ 29886 w 903"/>
              <a:gd name="T47" fmla="*/ 300290 h 759"/>
              <a:gd name="T48" fmla="*/ 9669 w 903"/>
              <a:gd name="T49" fmla="*/ 270891 h 759"/>
              <a:gd name="T50" fmla="*/ 5274 w 903"/>
              <a:gd name="T51" fmla="*/ 254092 h 759"/>
              <a:gd name="T52" fmla="*/ 4395 w 903"/>
              <a:gd name="T53" fmla="*/ 230467 h 759"/>
              <a:gd name="T54" fmla="*/ 0 w 903"/>
              <a:gd name="T55" fmla="*/ 197919 h 759"/>
              <a:gd name="T56" fmla="*/ 17141 w 903"/>
              <a:gd name="T57" fmla="*/ 197919 h 759"/>
              <a:gd name="T58" fmla="*/ 25052 w 903"/>
              <a:gd name="T59" fmla="*/ 207893 h 759"/>
              <a:gd name="T60" fmla="*/ 41314 w 903"/>
              <a:gd name="T61" fmla="*/ 215243 h 759"/>
              <a:gd name="T62" fmla="*/ 59333 w 903"/>
              <a:gd name="T63" fmla="*/ 215768 h 759"/>
              <a:gd name="T64" fmla="*/ 70321 w 903"/>
              <a:gd name="T65" fmla="*/ 209993 h 759"/>
              <a:gd name="T66" fmla="*/ 79990 w 903"/>
              <a:gd name="T67" fmla="*/ 195294 h 759"/>
              <a:gd name="T68" fmla="*/ 86583 w 903"/>
              <a:gd name="T69" fmla="*/ 120221 h 759"/>
              <a:gd name="T70" fmla="*/ 89659 w 903"/>
              <a:gd name="T71" fmla="*/ 96597 h 759"/>
              <a:gd name="T72" fmla="*/ 92297 w 903"/>
              <a:gd name="T73" fmla="*/ 88197 h 759"/>
              <a:gd name="T74" fmla="*/ 105042 w 903"/>
              <a:gd name="T75" fmla="*/ 93447 h 759"/>
              <a:gd name="T76" fmla="*/ 107679 w 903"/>
              <a:gd name="T77" fmla="*/ 124946 h 759"/>
              <a:gd name="T78" fmla="*/ 108558 w 903"/>
              <a:gd name="T79" fmla="*/ 143845 h 759"/>
              <a:gd name="T80" fmla="*/ 112514 w 903"/>
              <a:gd name="T81" fmla="*/ 150670 h 759"/>
              <a:gd name="T82" fmla="*/ 126139 w 903"/>
              <a:gd name="T83" fmla="*/ 154870 h 759"/>
              <a:gd name="T84" fmla="*/ 137126 w 903"/>
              <a:gd name="T85" fmla="*/ 153820 h 759"/>
              <a:gd name="T86" fmla="*/ 146356 w 903"/>
              <a:gd name="T87" fmla="*/ 142795 h 759"/>
              <a:gd name="T88" fmla="*/ 153828 w 903"/>
              <a:gd name="T89" fmla="*/ 122846 h 759"/>
              <a:gd name="T90" fmla="*/ 161739 w 903"/>
              <a:gd name="T91" fmla="*/ 105522 h 759"/>
              <a:gd name="T92" fmla="*/ 170089 w 903"/>
              <a:gd name="T93" fmla="*/ 100272 h 759"/>
              <a:gd name="T94" fmla="*/ 181956 w 903"/>
              <a:gd name="T95" fmla="*/ 101322 h 759"/>
              <a:gd name="T96" fmla="*/ 198218 w 903"/>
              <a:gd name="T97" fmla="*/ 109196 h 759"/>
              <a:gd name="T98" fmla="*/ 210084 w 903"/>
              <a:gd name="T99" fmla="*/ 113396 h 759"/>
              <a:gd name="T100" fmla="*/ 225028 w 903"/>
              <a:gd name="T101" fmla="*/ 111821 h 759"/>
              <a:gd name="T102" fmla="*/ 233378 w 903"/>
              <a:gd name="T103" fmla="*/ 104997 h 759"/>
              <a:gd name="T104" fmla="*/ 247882 w 903"/>
              <a:gd name="T105" fmla="*/ 66673 h 759"/>
              <a:gd name="T106" fmla="*/ 272494 w 903"/>
              <a:gd name="T107" fmla="*/ 41999 h 759"/>
              <a:gd name="T108" fmla="*/ 321719 w 903"/>
              <a:gd name="T109" fmla="*/ 5775 h 759"/>
              <a:gd name="T110" fmla="*/ 354243 w 903"/>
              <a:gd name="T111" fmla="*/ 1575 h 759"/>
              <a:gd name="T112" fmla="*/ 364791 w 903"/>
              <a:gd name="T113" fmla="*/ 3150 h 759"/>
              <a:gd name="T114" fmla="*/ 375339 w 903"/>
              <a:gd name="T115" fmla="*/ 18374 h 759"/>
              <a:gd name="T116" fmla="*/ 383690 w 903"/>
              <a:gd name="T117" fmla="*/ 37274 h 759"/>
              <a:gd name="T118" fmla="*/ 388085 w 903"/>
              <a:gd name="T119" fmla="*/ 56173 h 759"/>
              <a:gd name="T120" fmla="*/ 381492 w 903"/>
              <a:gd name="T121" fmla="*/ 108671 h 759"/>
              <a:gd name="T122" fmla="*/ 364791 w 903"/>
              <a:gd name="T123" fmla="*/ 107097 h 759"/>
              <a:gd name="T124" fmla="*/ 363033 w 903"/>
              <a:gd name="T125" fmla="*/ 147520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2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323523 w 943"/>
              <a:gd name="T1" fmla="*/ 2607 h 1172"/>
              <a:gd name="T2" fmla="*/ 333551 w 943"/>
              <a:gd name="T3" fmla="*/ 11994 h 1172"/>
              <a:gd name="T4" fmla="*/ 350120 w 943"/>
              <a:gd name="T5" fmla="*/ 15645 h 1172"/>
              <a:gd name="T6" fmla="*/ 354916 w 943"/>
              <a:gd name="T7" fmla="*/ 28682 h 1172"/>
              <a:gd name="T8" fmla="*/ 364072 w 943"/>
              <a:gd name="T9" fmla="*/ 56842 h 1172"/>
              <a:gd name="T10" fmla="*/ 364944 w 943"/>
              <a:gd name="T11" fmla="*/ 97519 h 1172"/>
              <a:gd name="T12" fmla="*/ 373665 w 943"/>
              <a:gd name="T13" fmla="*/ 126722 h 1172"/>
              <a:gd name="T14" fmla="*/ 402006 w 943"/>
              <a:gd name="T15" fmla="*/ 152275 h 1172"/>
              <a:gd name="T16" fmla="*/ 383257 w 943"/>
              <a:gd name="T17" fmla="*/ 188258 h 1172"/>
              <a:gd name="T18" fmla="*/ 371049 w 943"/>
              <a:gd name="T19" fmla="*/ 213811 h 1172"/>
              <a:gd name="T20" fmla="*/ 352736 w 943"/>
              <a:gd name="T21" fmla="*/ 331147 h 1172"/>
              <a:gd name="T22" fmla="*/ 335731 w 943"/>
              <a:gd name="T23" fmla="*/ 353049 h 1172"/>
              <a:gd name="T24" fmla="*/ 332679 w 943"/>
              <a:gd name="T25" fmla="*/ 375995 h 1172"/>
              <a:gd name="T26" fmla="*/ 324831 w 943"/>
              <a:gd name="T27" fmla="*/ 383296 h 1172"/>
              <a:gd name="T28" fmla="*/ 315239 w 943"/>
              <a:gd name="T29" fmla="*/ 416150 h 1172"/>
              <a:gd name="T30" fmla="*/ 301722 w 943"/>
              <a:gd name="T31" fmla="*/ 457347 h 1172"/>
              <a:gd name="T32" fmla="*/ 288642 w 943"/>
              <a:gd name="T33" fmla="*/ 470906 h 1172"/>
              <a:gd name="T34" fmla="*/ 289514 w 943"/>
              <a:gd name="T35" fmla="*/ 487072 h 1172"/>
              <a:gd name="T36" fmla="*/ 299106 w 943"/>
              <a:gd name="T37" fmla="*/ 489680 h 1172"/>
              <a:gd name="T38" fmla="*/ 309135 w 943"/>
              <a:gd name="T39" fmla="*/ 495416 h 1172"/>
              <a:gd name="T40" fmla="*/ 323523 w 943"/>
              <a:gd name="T41" fmla="*/ 506367 h 1172"/>
              <a:gd name="T42" fmla="*/ 329627 w 943"/>
              <a:gd name="T43" fmla="*/ 525141 h 1172"/>
              <a:gd name="T44" fmla="*/ 337912 w 943"/>
              <a:gd name="T45" fmla="*/ 543915 h 1172"/>
              <a:gd name="T46" fmla="*/ 350120 w 943"/>
              <a:gd name="T47" fmla="*/ 549130 h 1172"/>
              <a:gd name="T48" fmla="*/ 352736 w 943"/>
              <a:gd name="T49" fmla="*/ 570511 h 1172"/>
              <a:gd name="T50" fmla="*/ 313059 w 943"/>
              <a:gd name="T51" fmla="*/ 581462 h 1172"/>
              <a:gd name="T52" fmla="*/ 299542 w 943"/>
              <a:gd name="T53" fmla="*/ 603365 h 1172"/>
              <a:gd name="T54" fmla="*/ 260737 w 943"/>
              <a:gd name="T55" fmla="*/ 610144 h 1172"/>
              <a:gd name="T56" fmla="*/ 224548 w 943"/>
              <a:gd name="T57" fmla="*/ 603886 h 1172"/>
              <a:gd name="T58" fmla="*/ 202311 w 943"/>
              <a:gd name="T59" fmla="*/ 585634 h 1172"/>
              <a:gd name="T60" fmla="*/ 170046 w 943"/>
              <a:gd name="T61" fmla="*/ 586677 h 1172"/>
              <a:gd name="T62" fmla="*/ 139089 w 943"/>
              <a:gd name="T63" fmla="*/ 584069 h 1172"/>
              <a:gd name="T64" fmla="*/ 129496 w 943"/>
              <a:gd name="T65" fmla="*/ 575726 h 1172"/>
              <a:gd name="T66" fmla="*/ 128188 w 943"/>
              <a:gd name="T67" fmla="*/ 560602 h 1172"/>
              <a:gd name="T68" fmla="*/ 119468 w 943"/>
              <a:gd name="T69" fmla="*/ 536614 h 1172"/>
              <a:gd name="T70" fmla="*/ 94179 w 943"/>
              <a:gd name="T71" fmla="*/ 507932 h 1172"/>
              <a:gd name="T72" fmla="*/ 84151 w 943"/>
              <a:gd name="T73" fmla="*/ 482379 h 1172"/>
              <a:gd name="T74" fmla="*/ 66274 w 943"/>
              <a:gd name="T75" fmla="*/ 470906 h 1172"/>
              <a:gd name="T76" fmla="*/ 52322 w 943"/>
              <a:gd name="T77" fmla="*/ 441181 h 1172"/>
              <a:gd name="T78" fmla="*/ 42293 w 943"/>
              <a:gd name="T79" fmla="*/ 410935 h 1172"/>
              <a:gd name="T80" fmla="*/ 28341 w 943"/>
              <a:gd name="T81" fmla="*/ 395290 h 1172"/>
              <a:gd name="T82" fmla="*/ 14388 w 943"/>
              <a:gd name="T83" fmla="*/ 352528 h 1172"/>
              <a:gd name="T84" fmla="*/ 1744 w 943"/>
              <a:gd name="T85" fmla="*/ 318631 h 1172"/>
              <a:gd name="T86" fmla="*/ 7848 w 943"/>
              <a:gd name="T87" fmla="*/ 300900 h 1172"/>
              <a:gd name="T88" fmla="*/ 12644 w 943"/>
              <a:gd name="T89" fmla="*/ 271697 h 1172"/>
              <a:gd name="T90" fmla="*/ 27905 w 943"/>
              <a:gd name="T91" fmla="*/ 247187 h 1172"/>
              <a:gd name="T92" fmla="*/ 49270 w 943"/>
              <a:gd name="T93" fmla="*/ 115771 h 1172"/>
              <a:gd name="T94" fmla="*/ 53630 w 943"/>
              <a:gd name="T95" fmla="*/ 93347 h 1172"/>
              <a:gd name="T96" fmla="*/ 66710 w 943"/>
              <a:gd name="T97" fmla="*/ 89175 h 1172"/>
              <a:gd name="T98" fmla="*/ 69762 w 943"/>
              <a:gd name="T99" fmla="*/ 63622 h 1172"/>
              <a:gd name="T100" fmla="*/ 69326 w 943"/>
              <a:gd name="T101" fmla="*/ 34940 h 1172"/>
              <a:gd name="T102" fmla="*/ 296054 w 943"/>
              <a:gd name="T103" fmla="*/ 35983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32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2484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5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6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7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8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9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323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</p:grpSpPr>
        <p:sp>
          <p:nvSpPr>
            <p:cNvPr id="2442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13 h 54"/>
                <a:gd name="T2" fmla="*/ 2 w 98"/>
                <a:gd name="T3" fmla="*/ 14 h 54"/>
                <a:gd name="T4" fmla="*/ 4 w 98"/>
                <a:gd name="T5" fmla="*/ 16 h 54"/>
                <a:gd name="T6" fmla="*/ 7 w 98"/>
                <a:gd name="T7" fmla="*/ 17 h 54"/>
                <a:gd name="T8" fmla="*/ 10 w 98"/>
                <a:gd name="T9" fmla="*/ 17 h 54"/>
                <a:gd name="T10" fmla="*/ 12 w 98"/>
                <a:gd name="T11" fmla="*/ 17 h 54"/>
                <a:gd name="T12" fmla="*/ 14 w 98"/>
                <a:gd name="T13" fmla="*/ 17 h 54"/>
                <a:gd name="T14" fmla="*/ 16 w 98"/>
                <a:gd name="T15" fmla="*/ 16 h 54"/>
                <a:gd name="T16" fmla="*/ 18 w 98"/>
                <a:gd name="T17" fmla="*/ 15 h 54"/>
                <a:gd name="T18" fmla="*/ 21 w 98"/>
                <a:gd name="T19" fmla="*/ 13 h 54"/>
                <a:gd name="T20" fmla="*/ 24 w 98"/>
                <a:gd name="T21" fmla="*/ 11 h 54"/>
                <a:gd name="T22" fmla="*/ 27 w 98"/>
                <a:gd name="T23" fmla="*/ 9 h 54"/>
                <a:gd name="T24" fmla="*/ 29 w 98"/>
                <a:gd name="T25" fmla="*/ 6 h 54"/>
                <a:gd name="T26" fmla="*/ 30 w 98"/>
                <a:gd name="T27" fmla="*/ 4 h 54"/>
                <a:gd name="T28" fmla="*/ 31 w 98"/>
                <a:gd name="T29" fmla="*/ 1 h 54"/>
                <a:gd name="T30" fmla="*/ 29 w 98"/>
                <a:gd name="T31" fmla="*/ 1 h 54"/>
                <a:gd name="T32" fmla="*/ 26 w 98"/>
                <a:gd name="T33" fmla="*/ 0 h 54"/>
                <a:gd name="T34" fmla="*/ 24 w 98"/>
                <a:gd name="T35" fmla="*/ 0 h 54"/>
                <a:gd name="T36" fmla="*/ 22 w 98"/>
                <a:gd name="T37" fmla="*/ 0 h 54"/>
                <a:gd name="T38" fmla="*/ 19 w 98"/>
                <a:gd name="T39" fmla="*/ 0 h 54"/>
                <a:gd name="T40" fmla="*/ 16 w 98"/>
                <a:gd name="T41" fmla="*/ 1 h 54"/>
                <a:gd name="T42" fmla="*/ 14 w 98"/>
                <a:gd name="T43" fmla="*/ 2 h 54"/>
                <a:gd name="T44" fmla="*/ 12 w 98"/>
                <a:gd name="T45" fmla="*/ 3 h 54"/>
                <a:gd name="T46" fmla="*/ 7 w 98"/>
                <a:gd name="T47" fmla="*/ 5 h 54"/>
                <a:gd name="T48" fmla="*/ 4 w 98"/>
                <a:gd name="T49" fmla="*/ 8 h 54"/>
                <a:gd name="T50" fmla="*/ 2 w 98"/>
                <a:gd name="T51" fmla="*/ 9 h 54"/>
                <a:gd name="T52" fmla="*/ 1 w 98"/>
                <a:gd name="T53" fmla="*/ 10 h 54"/>
                <a:gd name="T54" fmla="*/ 0 w 98"/>
                <a:gd name="T55" fmla="*/ 12 h 54"/>
                <a:gd name="T56" fmla="*/ 0 w 98"/>
                <a:gd name="T57" fmla="*/ 13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3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8 h 28"/>
                <a:gd name="T2" fmla="*/ 3 w 67"/>
                <a:gd name="T3" fmla="*/ 8 h 28"/>
                <a:gd name="T4" fmla="*/ 7 w 67"/>
                <a:gd name="T5" fmla="*/ 8 h 28"/>
                <a:gd name="T6" fmla="*/ 10 w 67"/>
                <a:gd name="T7" fmla="*/ 7 h 28"/>
                <a:gd name="T8" fmla="*/ 13 w 67"/>
                <a:gd name="T9" fmla="*/ 6 h 28"/>
                <a:gd name="T10" fmla="*/ 15 w 67"/>
                <a:gd name="T11" fmla="*/ 5 h 28"/>
                <a:gd name="T12" fmla="*/ 18 w 67"/>
                <a:gd name="T13" fmla="*/ 3 h 28"/>
                <a:gd name="T14" fmla="*/ 20 w 67"/>
                <a:gd name="T15" fmla="*/ 2 h 28"/>
                <a:gd name="T16" fmla="*/ 21 w 67"/>
                <a:gd name="T17" fmla="*/ 1 h 28"/>
                <a:gd name="T18" fmla="*/ 18 w 67"/>
                <a:gd name="T19" fmla="*/ 0 h 28"/>
                <a:gd name="T20" fmla="*/ 14 w 67"/>
                <a:gd name="T21" fmla="*/ 0 h 28"/>
                <a:gd name="T22" fmla="*/ 11 w 67"/>
                <a:gd name="T23" fmla="*/ 0 h 28"/>
                <a:gd name="T24" fmla="*/ 8 w 67"/>
                <a:gd name="T25" fmla="*/ 1 h 28"/>
                <a:gd name="T26" fmla="*/ 5 w 67"/>
                <a:gd name="T27" fmla="*/ 2 h 28"/>
                <a:gd name="T28" fmla="*/ 3 w 67"/>
                <a:gd name="T29" fmla="*/ 3 h 28"/>
                <a:gd name="T30" fmla="*/ 2 w 67"/>
                <a:gd name="T31" fmla="*/ 4 h 28"/>
                <a:gd name="T32" fmla="*/ 1 w 67"/>
                <a:gd name="T33" fmla="*/ 5 h 28"/>
                <a:gd name="T34" fmla="*/ 1 w 67"/>
                <a:gd name="T35" fmla="*/ 6 h 28"/>
                <a:gd name="T36" fmla="*/ 0 w 67"/>
                <a:gd name="T37" fmla="*/ 8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4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6 h 36"/>
                <a:gd name="T2" fmla="*/ 0 w 32"/>
                <a:gd name="T3" fmla="*/ 7 h 36"/>
                <a:gd name="T4" fmla="*/ 1 w 32"/>
                <a:gd name="T5" fmla="*/ 9 h 36"/>
                <a:gd name="T6" fmla="*/ 2 w 32"/>
                <a:gd name="T7" fmla="*/ 10 h 36"/>
                <a:gd name="T8" fmla="*/ 3 w 32"/>
                <a:gd name="T9" fmla="*/ 10 h 36"/>
                <a:gd name="T10" fmla="*/ 4 w 32"/>
                <a:gd name="T11" fmla="*/ 11 h 36"/>
                <a:gd name="T12" fmla="*/ 4 w 32"/>
                <a:gd name="T13" fmla="*/ 11 h 36"/>
                <a:gd name="T14" fmla="*/ 11 w 32"/>
                <a:gd name="T15" fmla="*/ 11 h 36"/>
                <a:gd name="T16" fmla="*/ 11 w 32"/>
                <a:gd name="T17" fmla="*/ 7 h 36"/>
                <a:gd name="T18" fmla="*/ 11 w 32"/>
                <a:gd name="T19" fmla="*/ 4 h 36"/>
                <a:gd name="T20" fmla="*/ 10 w 32"/>
                <a:gd name="T21" fmla="*/ 2 h 36"/>
                <a:gd name="T22" fmla="*/ 9 w 32"/>
                <a:gd name="T23" fmla="*/ 0 h 36"/>
                <a:gd name="T24" fmla="*/ 7 w 32"/>
                <a:gd name="T25" fmla="*/ 1 h 36"/>
                <a:gd name="T26" fmla="*/ 4 w 32"/>
                <a:gd name="T27" fmla="*/ 2 h 36"/>
                <a:gd name="T28" fmla="*/ 2 w 32"/>
                <a:gd name="T29" fmla="*/ 3 h 36"/>
                <a:gd name="T30" fmla="*/ 1 w 32"/>
                <a:gd name="T31" fmla="*/ 4 h 36"/>
                <a:gd name="T32" fmla="*/ 0 w 32"/>
                <a:gd name="T33" fmla="*/ 5 h 36"/>
                <a:gd name="T34" fmla="*/ 0 w 32"/>
                <a:gd name="T35" fmla="*/ 6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5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14 h 52"/>
                <a:gd name="T2" fmla="*/ 3 w 146"/>
                <a:gd name="T3" fmla="*/ 15 h 52"/>
                <a:gd name="T4" fmla="*/ 7 w 146"/>
                <a:gd name="T5" fmla="*/ 16 h 52"/>
                <a:gd name="T6" fmla="*/ 10 w 146"/>
                <a:gd name="T7" fmla="*/ 17 h 52"/>
                <a:gd name="T8" fmla="*/ 14 w 146"/>
                <a:gd name="T9" fmla="*/ 17 h 52"/>
                <a:gd name="T10" fmla="*/ 20 w 146"/>
                <a:gd name="T11" fmla="*/ 17 h 52"/>
                <a:gd name="T12" fmla="*/ 26 w 146"/>
                <a:gd name="T13" fmla="*/ 17 h 52"/>
                <a:gd name="T14" fmla="*/ 37 w 146"/>
                <a:gd name="T15" fmla="*/ 15 h 52"/>
                <a:gd name="T16" fmla="*/ 46 w 146"/>
                <a:gd name="T17" fmla="*/ 14 h 52"/>
                <a:gd name="T18" fmla="*/ 45 w 146"/>
                <a:gd name="T19" fmla="*/ 12 h 52"/>
                <a:gd name="T20" fmla="*/ 45 w 146"/>
                <a:gd name="T21" fmla="*/ 10 h 52"/>
                <a:gd name="T22" fmla="*/ 44 w 146"/>
                <a:gd name="T23" fmla="*/ 8 h 52"/>
                <a:gd name="T24" fmla="*/ 43 w 146"/>
                <a:gd name="T25" fmla="*/ 6 h 52"/>
                <a:gd name="T26" fmla="*/ 42 w 146"/>
                <a:gd name="T27" fmla="*/ 5 h 52"/>
                <a:gd name="T28" fmla="*/ 41 w 146"/>
                <a:gd name="T29" fmla="*/ 4 h 52"/>
                <a:gd name="T30" fmla="*/ 39 w 146"/>
                <a:gd name="T31" fmla="*/ 3 h 52"/>
                <a:gd name="T32" fmla="*/ 38 w 146"/>
                <a:gd name="T33" fmla="*/ 2 h 52"/>
                <a:gd name="T34" fmla="*/ 35 w 146"/>
                <a:gd name="T35" fmla="*/ 1 h 52"/>
                <a:gd name="T36" fmla="*/ 32 w 146"/>
                <a:gd name="T37" fmla="*/ 0 h 52"/>
                <a:gd name="T38" fmla="*/ 28 w 146"/>
                <a:gd name="T39" fmla="*/ 0 h 52"/>
                <a:gd name="T40" fmla="*/ 25 w 146"/>
                <a:gd name="T41" fmla="*/ 1 h 52"/>
                <a:gd name="T42" fmla="*/ 21 w 146"/>
                <a:gd name="T43" fmla="*/ 2 h 52"/>
                <a:gd name="T44" fmla="*/ 17 w 146"/>
                <a:gd name="T45" fmla="*/ 3 h 52"/>
                <a:gd name="T46" fmla="*/ 14 w 146"/>
                <a:gd name="T47" fmla="*/ 5 h 52"/>
                <a:gd name="T48" fmla="*/ 10 w 146"/>
                <a:gd name="T49" fmla="*/ 6 h 52"/>
                <a:gd name="T50" fmla="*/ 7 w 146"/>
                <a:gd name="T51" fmla="*/ 8 h 52"/>
                <a:gd name="T52" fmla="*/ 4 w 146"/>
                <a:gd name="T53" fmla="*/ 10 h 52"/>
                <a:gd name="T54" fmla="*/ 2 w 146"/>
                <a:gd name="T55" fmla="*/ 12 h 52"/>
                <a:gd name="T56" fmla="*/ 0 w 146"/>
                <a:gd name="T57" fmla="*/ 14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6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20 w 60"/>
                <a:gd name="T1" fmla="*/ 0 h 31"/>
                <a:gd name="T2" fmla="*/ 16 w 60"/>
                <a:gd name="T3" fmla="*/ 0 h 31"/>
                <a:gd name="T4" fmla="*/ 13 w 60"/>
                <a:gd name="T5" fmla="*/ 0 h 31"/>
                <a:gd name="T6" fmla="*/ 10 w 60"/>
                <a:gd name="T7" fmla="*/ 0 h 31"/>
                <a:gd name="T8" fmla="*/ 9 w 60"/>
                <a:gd name="T9" fmla="*/ 0 h 31"/>
                <a:gd name="T10" fmla="*/ 6 w 60"/>
                <a:gd name="T11" fmla="*/ 0 h 31"/>
                <a:gd name="T12" fmla="*/ 3 w 60"/>
                <a:gd name="T13" fmla="*/ 1 h 31"/>
                <a:gd name="T14" fmla="*/ 2 w 60"/>
                <a:gd name="T15" fmla="*/ 1 h 31"/>
                <a:gd name="T16" fmla="*/ 1 w 60"/>
                <a:gd name="T17" fmla="*/ 2 h 31"/>
                <a:gd name="T18" fmla="*/ 0 w 60"/>
                <a:gd name="T19" fmla="*/ 3 h 31"/>
                <a:gd name="T20" fmla="*/ 0 w 60"/>
                <a:gd name="T21" fmla="*/ 4 h 31"/>
                <a:gd name="T22" fmla="*/ 0 w 60"/>
                <a:gd name="T23" fmla="*/ 5 h 31"/>
                <a:gd name="T24" fmla="*/ 1 w 60"/>
                <a:gd name="T25" fmla="*/ 6 h 31"/>
                <a:gd name="T26" fmla="*/ 2 w 60"/>
                <a:gd name="T27" fmla="*/ 7 h 31"/>
                <a:gd name="T28" fmla="*/ 3 w 60"/>
                <a:gd name="T29" fmla="*/ 8 h 31"/>
                <a:gd name="T30" fmla="*/ 4 w 60"/>
                <a:gd name="T31" fmla="*/ 9 h 31"/>
                <a:gd name="T32" fmla="*/ 6 w 60"/>
                <a:gd name="T33" fmla="*/ 9 h 31"/>
                <a:gd name="T34" fmla="*/ 7 w 60"/>
                <a:gd name="T35" fmla="*/ 10 h 31"/>
                <a:gd name="T36" fmla="*/ 9 w 60"/>
                <a:gd name="T37" fmla="*/ 10 h 31"/>
                <a:gd name="T38" fmla="*/ 11 w 60"/>
                <a:gd name="T39" fmla="*/ 10 h 31"/>
                <a:gd name="T40" fmla="*/ 12 w 60"/>
                <a:gd name="T41" fmla="*/ 9 h 31"/>
                <a:gd name="T42" fmla="*/ 14 w 60"/>
                <a:gd name="T43" fmla="*/ 8 h 31"/>
                <a:gd name="T44" fmla="*/ 16 w 60"/>
                <a:gd name="T45" fmla="*/ 6 h 31"/>
                <a:gd name="T46" fmla="*/ 19 w 60"/>
                <a:gd name="T47" fmla="*/ 3 h 31"/>
                <a:gd name="T48" fmla="*/ 20 w 60"/>
                <a:gd name="T49" fmla="*/ 2 h 31"/>
                <a:gd name="T50" fmla="*/ 2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7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14 h 62"/>
                <a:gd name="T2" fmla="*/ 0 w 80"/>
                <a:gd name="T3" fmla="*/ 15 h 62"/>
                <a:gd name="T4" fmla="*/ 0 w 80"/>
                <a:gd name="T5" fmla="*/ 16 h 62"/>
                <a:gd name="T6" fmla="*/ 1 w 80"/>
                <a:gd name="T7" fmla="*/ 16 h 62"/>
                <a:gd name="T8" fmla="*/ 1 w 80"/>
                <a:gd name="T9" fmla="*/ 17 h 62"/>
                <a:gd name="T10" fmla="*/ 3 w 80"/>
                <a:gd name="T11" fmla="*/ 18 h 62"/>
                <a:gd name="T12" fmla="*/ 5 w 80"/>
                <a:gd name="T13" fmla="*/ 19 h 62"/>
                <a:gd name="T14" fmla="*/ 9 w 80"/>
                <a:gd name="T15" fmla="*/ 20 h 62"/>
                <a:gd name="T16" fmla="*/ 13 w 80"/>
                <a:gd name="T17" fmla="*/ 20 h 62"/>
                <a:gd name="T18" fmla="*/ 15 w 80"/>
                <a:gd name="T19" fmla="*/ 20 h 62"/>
                <a:gd name="T20" fmla="*/ 16 w 80"/>
                <a:gd name="T21" fmla="*/ 19 h 62"/>
                <a:gd name="T22" fmla="*/ 18 w 80"/>
                <a:gd name="T23" fmla="*/ 18 h 62"/>
                <a:gd name="T24" fmla="*/ 19 w 80"/>
                <a:gd name="T25" fmla="*/ 17 h 62"/>
                <a:gd name="T26" fmla="*/ 21 w 80"/>
                <a:gd name="T27" fmla="*/ 15 h 62"/>
                <a:gd name="T28" fmla="*/ 23 w 80"/>
                <a:gd name="T29" fmla="*/ 12 h 62"/>
                <a:gd name="T30" fmla="*/ 24 w 80"/>
                <a:gd name="T31" fmla="*/ 9 h 62"/>
                <a:gd name="T32" fmla="*/ 25 w 80"/>
                <a:gd name="T33" fmla="*/ 6 h 62"/>
                <a:gd name="T34" fmla="*/ 26 w 80"/>
                <a:gd name="T35" fmla="*/ 3 h 62"/>
                <a:gd name="T36" fmla="*/ 26 w 80"/>
                <a:gd name="T37" fmla="*/ 0 h 62"/>
                <a:gd name="T38" fmla="*/ 23 w 80"/>
                <a:gd name="T39" fmla="*/ 0 h 62"/>
                <a:gd name="T40" fmla="*/ 19 w 80"/>
                <a:gd name="T41" fmla="*/ 1 h 62"/>
                <a:gd name="T42" fmla="*/ 15 w 80"/>
                <a:gd name="T43" fmla="*/ 3 h 62"/>
                <a:gd name="T44" fmla="*/ 11 w 80"/>
                <a:gd name="T45" fmla="*/ 4 h 62"/>
                <a:gd name="T46" fmla="*/ 7 w 80"/>
                <a:gd name="T47" fmla="*/ 6 h 62"/>
                <a:gd name="T48" fmla="*/ 3 w 80"/>
                <a:gd name="T49" fmla="*/ 8 h 62"/>
                <a:gd name="T50" fmla="*/ 2 w 80"/>
                <a:gd name="T51" fmla="*/ 10 h 62"/>
                <a:gd name="T52" fmla="*/ 1 w 80"/>
                <a:gd name="T53" fmla="*/ 11 h 62"/>
                <a:gd name="T54" fmla="*/ 0 w 80"/>
                <a:gd name="T55" fmla="*/ 13 h 62"/>
                <a:gd name="T56" fmla="*/ 0 w 80"/>
                <a:gd name="T57" fmla="*/ 14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8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25 w 106"/>
                <a:gd name="T1" fmla="*/ 4 h 49"/>
                <a:gd name="T2" fmla="*/ 22 w 106"/>
                <a:gd name="T3" fmla="*/ 4 h 49"/>
                <a:gd name="T4" fmla="*/ 21 w 106"/>
                <a:gd name="T5" fmla="*/ 4 h 49"/>
                <a:gd name="T6" fmla="*/ 18 w 106"/>
                <a:gd name="T7" fmla="*/ 3 h 49"/>
                <a:gd name="T8" fmla="*/ 17 w 106"/>
                <a:gd name="T9" fmla="*/ 2 h 49"/>
                <a:gd name="T10" fmla="*/ 15 w 106"/>
                <a:gd name="T11" fmla="*/ 1 h 49"/>
                <a:gd name="T12" fmla="*/ 13 w 106"/>
                <a:gd name="T13" fmla="*/ 1 h 49"/>
                <a:gd name="T14" fmla="*/ 11 w 106"/>
                <a:gd name="T15" fmla="*/ 0 h 49"/>
                <a:gd name="T16" fmla="*/ 8 w 106"/>
                <a:gd name="T17" fmla="*/ 0 h 49"/>
                <a:gd name="T18" fmla="*/ 5 w 106"/>
                <a:gd name="T19" fmla="*/ 0 h 49"/>
                <a:gd name="T20" fmla="*/ 0 w 106"/>
                <a:gd name="T21" fmla="*/ 0 h 49"/>
                <a:gd name="T22" fmla="*/ 3 w 106"/>
                <a:gd name="T23" fmla="*/ 4 h 49"/>
                <a:gd name="T24" fmla="*/ 5 w 106"/>
                <a:gd name="T25" fmla="*/ 7 h 49"/>
                <a:gd name="T26" fmla="*/ 8 w 106"/>
                <a:gd name="T27" fmla="*/ 9 h 49"/>
                <a:gd name="T28" fmla="*/ 11 w 106"/>
                <a:gd name="T29" fmla="*/ 12 h 49"/>
                <a:gd name="T30" fmla="*/ 13 w 106"/>
                <a:gd name="T31" fmla="*/ 14 h 49"/>
                <a:gd name="T32" fmla="*/ 16 w 106"/>
                <a:gd name="T33" fmla="*/ 15 h 49"/>
                <a:gd name="T34" fmla="*/ 19 w 106"/>
                <a:gd name="T35" fmla="*/ 16 h 49"/>
                <a:gd name="T36" fmla="*/ 22 w 106"/>
                <a:gd name="T37" fmla="*/ 16 h 49"/>
                <a:gd name="T38" fmla="*/ 25 w 106"/>
                <a:gd name="T39" fmla="*/ 16 h 49"/>
                <a:gd name="T40" fmla="*/ 27 w 106"/>
                <a:gd name="T41" fmla="*/ 15 h 49"/>
                <a:gd name="T42" fmla="*/ 30 w 106"/>
                <a:gd name="T43" fmla="*/ 13 h 49"/>
                <a:gd name="T44" fmla="*/ 33 w 106"/>
                <a:gd name="T45" fmla="*/ 10 h 49"/>
                <a:gd name="T46" fmla="*/ 31 w 106"/>
                <a:gd name="T47" fmla="*/ 10 h 49"/>
                <a:gd name="T48" fmla="*/ 31 w 106"/>
                <a:gd name="T49" fmla="*/ 9 h 49"/>
                <a:gd name="T50" fmla="*/ 29 w 106"/>
                <a:gd name="T51" fmla="*/ 8 h 49"/>
                <a:gd name="T52" fmla="*/ 28 w 106"/>
                <a:gd name="T53" fmla="*/ 7 h 49"/>
                <a:gd name="T54" fmla="*/ 27 w 106"/>
                <a:gd name="T55" fmla="*/ 6 h 49"/>
                <a:gd name="T56" fmla="*/ 26 w 106"/>
                <a:gd name="T57" fmla="*/ 5 h 49"/>
                <a:gd name="T58" fmla="*/ 26 w 106"/>
                <a:gd name="T59" fmla="*/ 5 h 49"/>
                <a:gd name="T60" fmla="*/ 25 w 106"/>
                <a:gd name="T61" fmla="*/ 4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9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6 h 22"/>
                <a:gd name="T2" fmla="*/ 2 w 47"/>
                <a:gd name="T3" fmla="*/ 7 h 22"/>
                <a:gd name="T4" fmla="*/ 4 w 47"/>
                <a:gd name="T5" fmla="*/ 7 h 22"/>
                <a:gd name="T6" fmla="*/ 6 w 47"/>
                <a:gd name="T7" fmla="*/ 7 h 22"/>
                <a:gd name="T8" fmla="*/ 8 w 47"/>
                <a:gd name="T9" fmla="*/ 7 h 22"/>
                <a:gd name="T10" fmla="*/ 11 w 47"/>
                <a:gd name="T11" fmla="*/ 6 h 22"/>
                <a:gd name="T12" fmla="*/ 12 w 47"/>
                <a:gd name="T13" fmla="*/ 5 h 22"/>
                <a:gd name="T14" fmla="*/ 13 w 47"/>
                <a:gd name="T15" fmla="*/ 4 h 22"/>
                <a:gd name="T16" fmla="*/ 14 w 47"/>
                <a:gd name="T17" fmla="*/ 3 h 22"/>
                <a:gd name="T18" fmla="*/ 14 w 47"/>
                <a:gd name="T19" fmla="*/ 2 h 22"/>
                <a:gd name="T20" fmla="*/ 15 w 47"/>
                <a:gd name="T21" fmla="*/ 0 h 22"/>
                <a:gd name="T22" fmla="*/ 0 w 47"/>
                <a:gd name="T23" fmla="*/ 6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0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17 w 53"/>
                <a:gd name="T1" fmla="*/ 0 h 32"/>
                <a:gd name="T2" fmla="*/ 12 w 53"/>
                <a:gd name="T3" fmla="*/ 3 h 32"/>
                <a:gd name="T4" fmla="*/ 7 w 53"/>
                <a:gd name="T5" fmla="*/ 6 h 32"/>
                <a:gd name="T6" fmla="*/ 4 w 53"/>
                <a:gd name="T7" fmla="*/ 9 h 32"/>
                <a:gd name="T8" fmla="*/ 0 w 53"/>
                <a:gd name="T9" fmla="*/ 11 h 32"/>
                <a:gd name="T10" fmla="*/ 4 w 53"/>
                <a:gd name="T11" fmla="*/ 11 h 32"/>
                <a:gd name="T12" fmla="*/ 8 w 53"/>
                <a:gd name="T13" fmla="*/ 11 h 32"/>
                <a:gd name="T14" fmla="*/ 13 w 53"/>
                <a:gd name="T15" fmla="*/ 11 h 32"/>
                <a:gd name="T16" fmla="*/ 17 w 53"/>
                <a:gd name="T17" fmla="*/ 11 h 32"/>
                <a:gd name="T18" fmla="*/ 17 w 53"/>
                <a:gd name="T19" fmla="*/ 8 h 32"/>
                <a:gd name="T20" fmla="*/ 17 w 53"/>
                <a:gd name="T21" fmla="*/ 6 h 32"/>
                <a:gd name="T22" fmla="*/ 17 w 53"/>
                <a:gd name="T23" fmla="*/ 3 h 32"/>
                <a:gd name="T24" fmla="*/ 17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1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8 w 46"/>
                <a:gd name="T1" fmla="*/ 1 h 34"/>
                <a:gd name="T2" fmla="*/ 0 w 46"/>
                <a:gd name="T3" fmla="*/ 6 h 34"/>
                <a:gd name="T4" fmla="*/ 0 w 46"/>
                <a:gd name="T5" fmla="*/ 12 h 34"/>
                <a:gd name="T6" fmla="*/ 8 w 46"/>
                <a:gd name="T7" fmla="*/ 12 h 34"/>
                <a:gd name="T8" fmla="*/ 9 w 46"/>
                <a:gd name="T9" fmla="*/ 11 h 34"/>
                <a:gd name="T10" fmla="*/ 11 w 46"/>
                <a:gd name="T11" fmla="*/ 10 h 34"/>
                <a:gd name="T12" fmla="*/ 12 w 46"/>
                <a:gd name="T13" fmla="*/ 9 h 34"/>
                <a:gd name="T14" fmla="*/ 13 w 46"/>
                <a:gd name="T15" fmla="*/ 7 h 34"/>
                <a:gd name="T16" fmla="*/ 13 w 46"/>
                <a:gd name="T17" fmla="*/ 6 h 34"/>
                <a:gd name="T18" fmla="*/ 14 w 46"/>
                <a:gd name="T19" fmla="*/ 5 h 34"/>
                <a:gd name="T20" fmla="*/ 14 w 46"/>
                <a:gd name="T21" fmla="*/ 3 h 34"/>
                <a:gd name="T22" fmla="*/ 14 w 46"/>
                <a:gd name="T23" fmla="*/ 1 h 34"/>
                <a:gd name="T24" fmla="*/ 14 w 46"/>
                <a:gd name="T25" fmla="*/ 0 h 34"/>
                <a:gd name="T26" fmla="*/ 13 w 46"/>
                <a:gd name="T27" fmla="*/ 0 h 34"/>
                <a:gd name="T28" fmla="*/ 13 w 46"/>
                <a:gd name="T29" fmla="*/ 0 h 34"/>
                <a:gd name="T30" fmla="*/ 12 w 46"/>
                <a:gd name="T31" fmla="*/ 0 h 34"/>
                <a:gd name="T32" fmla="*/ 10 w 46"/>
                <a:gd name="T33" fmla="*/ 1 h 34"/>
                <a:gd name="T34" fmla="*/ 8 w 46"/>
                <a:gd name="T35" fmla="*/ 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2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8 h 25"/>
                <a:gd name="T2" fmla="*/ 5 w 48"/>
                <a:gd name="T3" fmla="*/ 8 h 25"/>
                <a:gd name="T4" fmla="*/ 9 w 48"/>
                <a:gd name="T5" fmla="*/ 8 h 25"/>
                <a:gd name="T6" fmla="*/ 10 w 48"/>
                <a:gd name="T7" fmla="*/ 8 h 25"/>
                <a:gd name="T8" fmla="*/ 11 w 48"/>
                <a:gd name="T9" fmla="*/ 7 h 25"/>
                <a:gd name="T10" fmla="*/ 12 w 48"/>
                <a:gd name="T11" fmla="*/ 6 h 25"/>
                <a:gd name="T12" fmla="*/ 13 w 48"/>
                <a:gd name="T13" fmla="*/ 5 h 25"/>
                <a:gd name="T14" fmla="*/ 15 w 48"/>
                <a:gd name="T15" fmla="*/ 2 h 25"/>
                <a:gd name="T16" fmla="*/ 16 w 48"/>
                <a:gd name="T17" fmla="*/ 0 h 25"/>
                <a:gd name="T18" fmla="*/ 13 w 48"/>
                <a:gd name="T19" fmla="*/ 0 h 25"/>
                <a:gd name="T20" fmla="*/ 11 w 48"/>
                <a:gd name="T21" fmla="*/ 1 h 25"/>
                <a:gd name="T22" fmla="*/ 9 w 48"/>
                <a:gd name="T23" fmla="*/ 2 h 25"/>
                <a:gd name="T24" fmla="*/ 7 w 48"/>
                <a:gd name="T25" fmla="*/ 3 h 25"/>
                <a:gd name="T26" fmla="*/ 4 w 48"/>
                <a:gd name="T27" fmla="*/ 5 h 25"/>
                <a:gd name="T28" fmla="*/ 0 w 48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3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11 h 37"/>
                <a:gd name="T4" fmla="*/ 3 w 30"/>
                <a:gd name="T5" fmla="*/ 11 h 37"/>
                <a:gd name="T6" fmla="*/ 5 w 30"/>
                <a:gd name="T7" fmla="*/ 10 h 37"/>
                <a:gd name="T8" fmla="*/ 6 w 30"/>
                <a:gd name="T9" fmla="*/ 10 h 37"/>
                <a:gd name="T10" fmla="*/ 7 w 30"/>
                <a:gd name="T11" fmla="*/ 10 h 37"/>
                <a:gd name="T12" fmla="*/ 7 w 30"/>
                <a:gd name="T13" fmla="*/ 9 h 37"/>
                <a:gd name="T14" fmla="*/ 8 w 30"/>
                <a:gd name="T15" fmla="*/ 8 h 37"/>
                <a:gd name="T16" fmla="*/ 8 w 30"/>
                <a:gd name="T17" fmla="*/ 7 h 37"/>
                <a:gd name="T18" fmla="*/ 8 w 30"/>
                <a:gd name="T19" fmla="*/ 5 h 37"/>
                <a:gd name="T20" fmla="*/ 8 w 30"/>
                <a:gd name="T21" fmla="*/ 3 h 37"/>
                <a:gd name="T22" fmla="*/ 7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4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11 w 113"/>
                <a:gd name="T1" fmla="*/ 1 h 46"/>
                <a:gd name="T2" fmla="*/ 7 w 113"/>
                <a:gd name="T3" fmla="*/ 1 h 46"/>
                <a:gd name="T4" fmla="*/ 4 w 113"/>
                <a:gd name="T5" fmla="*/ 2 h 46"/>
                <a:gd name="T6" fmla="*/ 2 w 113"/>
                <a:gd name="T7" fmla="*/ 2 h 46"/>
                <a:gd name="T8" fmla="*/ 1 w 113"/>
                <a:gd name="T9" fmla="*/ 4 h 46"/>
                <a:gd name="T10" fmla="*/ 0 w 113"/>
                <a:gd name="T11" fmla="*/ 5 h 46"/>
                <a:gd name="T12" fmla="*/ 0 w 113"/>
                <a:gd name="T13" fmla="*/ 7 h 46"/>
                <a:gd name="T14" fmla="*/ 2 w 113"/>
                <a:gd name="T15" fmla="*/ 9 h 46"/>
                <a:gd name="T16" fmla="*/ 3 w 113"/>
                <a:gd name="T17" fmla="*/ 11 h 46"/>
                <a:gd name="T18" fmla="*/ 5 w 113"/>
                <a:gd name="T19" fmla="*/ 13 h 46"/>
                <a:gd name="T20" fmla="*/ 6 w 113"/>
                <a:gd name="T21" fmla="*/ 14 h 46"/>
                <a:gd name="T22" fmla="*/ 8 w 113"/>
                <a:gd name="T23" fmla="*/ 15 h 46"/>
                <a:gd name="T24" fmla="*/ 10 w 113"/>
                <a:gd name="T25" fmla="*/ 16 h 46"/>
                <a:gd name="T26" fmla="*/ 11 w 113"/>
                <a:gd name="T27" fmla="*/ 16 h 46"/>
                <a:gd name="T28" fmla="*/ 13 w 113"/>
                <a:gd name="T29" fmla="*/ 16 h 46"/>
                <a:gd name="T30" fmla="*/ 18 w 113"/>
                <a:gd name="T31" fmla="*/ 16 h 46"/>
                <a:gd name="T32" fmla="*/ 22 w 113"/>
                <a:gd name="T33" fmla="*/ 15 h 46"/>
                <a:gd name="T34" fmla="*/ 24 w 113"/>
                <a:gd name="T35" fmla="*/ 14 h 46"/>
                <a:gd name="T36" fmla="*/ 26 w 113"/>
                <a:gd name="T37" fmla="*/ 13 h 46"/>
                <a:gd name="T38" fmla="*/ 28 w 113"/>
                <a:gd name="T39" fmla="*/ 13 h 46"/>
                <a:gd name="T40" fmla="*/ 29 w 113"/>
                <a:gd name="T41" fmla="*/ 11 h 46"/>
                <a:gd name="T42" fmla="*/ 32 w 113"/>
                <a:gd name="T43" fmla="*/ 9 h 46"/>
                <a:gd name="T44" fmla="*/ 34 w 113"/>
                <a:gd name="T45" fmla="*/ 7 h 46"/>
                <a:gd name="T46" fmla="*/ 35 w 113"/>
                <a:gd name="T47" fmla="*/ 4 h 46"/>
                <a:gd name="T48" fmla="*/ 36 w 113"/>
                <a:gd name="T49" fmla="*/ 1 h 46"/>
                <a:gd name="T50" fmla="*/ 32 w 113"/>
                <a:gd name="T51" fmla="*/ 0 h 46"/>
                <a:gd name="T52" fmla="*/ 28 w 113"/>
                <a:gd name="T53" fmla="*/ 0 h 46"/>
                <a:gd name="T54" fmla="*/ 24 w 113"/>
                <a:gd name="T55" fmla="*/ 0 h 46"/>
                <a:gd name="T56" fmla="*/ 21 w 113"/>
                <a:gd name="T57" fmla="*/ 0 h 46"/>
                <a:gd name="T58" fmla="*/ 15 w 113"/>
                <a:gd name="T59" fmla="*/ 1 h 46"/>
                <a:gd name="T60" fmla="*/ 11 w 113"/>
                <a:gd name="T61" fmla="*/ 1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5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27 h 82"/>
                <a:gd name="T2" fmla="*/ 1 w 153"/>
                <a:gd name="T3" fmla="*/ 28 h 82"/>
                <a:gd name="T4" fmla="*/ 2 w 153"/>
                <a:gd name="T5" fmla="*/ 28 h 82"/>
                <a:gd name="T6" fmla="*/ 3 w 153"/>
                <a:gd name="T7" fmla="*/ 28 h 82"/>
                <a:gd name="T8" fmla="*/ 4 w 153"/>
                <a:gd name="T9" fmla="*/ 28 h 82"/>
                <a:gd name="T10" fmla="*/ 7 w 153"/>
                <a:gd name="T11" fmla="*/ 27 h 82"/>
                <a:gd name="T12" fmla="*/ 11 w 153"/>
                <a:gd name="T13" fmla="*/ 27 h 82"/>
                <a:gd name="T14" fmla="*/ 13 w 153"/>
                <a:gd name="T15" fmla="*/ 27 h 82"/>
                <a:gd name="T16" fmla="*/ 15 w 153"/>
                <a:gd name="T17" fmla="*/ 27 h 82"/>
                <a:gd name="T18" fmla="*/ 18 w 153"/>
                <a:gd name="T19" fmla="*/ 26 h 82"/>
                <a:gd name="T20" fmla="*/ 21 w 153"/>
                <a:gd name="T21" fmla="*/ 25 h 82"/>
                <a:gd name="T22" fmla="*/ 27 w 153"/>
                <a:gd name="T23" fmla="*/ 23 h 82"/>
                <a:gd name="T24" fmla="*/ 33 w 153"/>
                <a:gd name="T25" fmla="*/ 20 h 82"/>
                <a:gd name="T26" fmla="*/ 36 w 153"/>
                <a:gd name="T27" fmla="*/ 18 h 82"/>
                <a:gd name="T28" fmla="*/ 39 w 153"/>
                <a:gd name="T29" fmla="*/ 17 h 82"/>
                <a:gd name="T30" fmla="*/ 41 w 153"/>
                <a:gd name="T31" fmla="*/ 15 h 82"/>
                <a:gd name="T32" fmla="*/ 44 w 153"/>
                <a:gd name="T33" fmla="*/ 13 h 82"/>
                <a:gd name="T34" fmla="*/ 45 w 153"/>
                <a:gd name="T35" fmla="*/ 11 h 82"/>
                <a:gd name="T36" fmla="*/ 47 w 153"/>
                <a:gd name="T37" fmla="*/ 9 h 82"/>
                <a:gd name="T38" fmla="*/ 48 w 153"/>
                <a:gd name="T39" fmla="*/ 6 h 82"/>
                <a:gd name="T40" fmla="*/ 49 w 153"/>
                <a:gd name="T41" fmla="*/ 4 h 82"/>
                <a:gd name="T42" fmla="*/ 43 w 153"/>
                <a:gd name="T43" fmla="*/ 3 h 82"/>
                <a:gd name="T44" fmla="*/ 37 w 153"/>
                <a:gd name="T45" fmla="*/ 1 h 82"/>
                <a:gd name="T46" fmla="*/ 31 w 153"/>
                <a:gd name="T47" fmla="*/ 0 h 82"/>
                <a:gd name="T48" fmla="*/ 25 w 153"/>
                <a:gd name="T49" fmla="*/ 0 h 82"/>
                <a:gd name="T50" fmla="*/ 22 w 153"/>
                <a:gd name="T51" fmla="*/ 0 h 82"/>
                <a:gd name="T52" fmla="*/ 19 w 153"/>
                <a:gd name="T53" fmla="*/ 0 h 82"/>
                <a:gd name="T54" fmla="*/ 17 w 153"/>
                <a:gd name="T55" fmla="*/ 1 h 82"/>
                <a:gd name="T56" fmla="*/ 14 w 153"/>
                <a:gd name="T57" fmla="*/ 1 h 82"/>
                <a:gd name="T58" fmla="*/ 12 w 153"/>
                <a:gd name="T59" fmla="*/ 2 h 82"/>
                <a:gd name="T60" fmla="*/ 11 w 153"/>
                <a:gd name="T61" fmla="*/ 3 h 82"/>
                <a:gd name="T62" fmla="*/ 10 w 153"/>
                <a:gd name="T63" fmla="*/ 5 h 82"/>
                <a:gd name="T64" fmla="*/ 8 w 153"/>
                <a:gd name="T65" fmla="*/ 6 h 82"/>
                <a:gd name="T66" fmla="*/ 10 w 153"/>
                <a:gd name="T67" fmla="*/ 8 h 82"/>
                <a:gd name="T68" fmla="*/ 12 w 153"/>
                <a:gd name="T69" fmla="*/ 10 h 82"/>
                <a:gd name="T70" fmla="*/ 12 w 153"/>
                <a:gd name="T71" fmla="*/ 11 h 82"/>
                <a:gd name="T72" fmla="*/ 13 w 153"/>
                <a:gd name="T73" fmla="*/ 12 h 82"/>
                <a:gd name="T74" fmla="*/ 14 w 153"/>
                <a:gd name="T75" fmla="*/ 12 h 82"/>
                <a:gd name="T76" fmla="*/ 15 w 153"/>
                <a:gd name="T77" fmla="*/ 12 h 82"/>
                <a:gd name="T78" fmla="*/ 13 w 153"/>
                <a:gd name="T79" fmla="*/ 14 h 82"/>
                <a:gd name="T80" fmla="*/ 11 w 153"/>
                <a:gd name="T81" fmla="*/ 16 h 82"/>
                <a:gd name="T82" fmla="*/ 9 w 153"/>
                <a:gd name="T83" fmla="*/ 18 h 82"/>
                <a:gd name="T84" fmla="*/ 7 w 153"/>
                <a:gd name="T85" fmla="*/ 19 h 82"/>
                <a:gd name="T86" fmla="*/ 6 w 153"/>
                <a:gd name="T87" fmla="*/ 22 h 82"/>
                <a:gd name="T88" fmla="*/ 4 w 153"/>
                <a:gd name="T89" fmla="*/ 24 h 82"/>
                <a:gd name="T90" fmla="*/ 2 w 153"/>
                <a:gd name="T91" fmla="*/ 26 h 82"/>
                <a:gd name="T92" fmla="*/ 0 w 153"/>
                <a:gd name="T93" fmla="*/ 27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6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13 h 50"/>
                <a:gd name="T2" fmla="*/ 2 w 86"/>
                <a:gd name="T3" fmla="*/ 14 h 50"/>
                <a:gd name="T4" fmla="*/ 4 w 86"/>
                <a:gd name="T5" fmla="*/ 15 h 50"/>
                <a:gd name="T6" fmla="*/ 5 w 86"/>
                <a:gd name="T7" fmla="*/ 16 h 50"/>
                <a:gd name="T8" fmla="*/ 8 w 86"/>
                <a:gd name="T9" fmla="*/ 16 h 50"/>
                <a:gd name="T10" fmla="*/ 12 w 86"/>
                <a:gd name="T11" fmla="*/ 17 h 50"/>
                <a:gd name="T12" fmla="*/ 16 w 86"/>
                <a:gd name="T13" fmla="*/ 17 h 50"/>
                <a:gd name="T14" fmla="*/ 20 w 86"/>
                <a:gd name="T15" fmla="*/ 17 h 50"/>
                <a:gd name="T16" fmla="*/ 23 w 86"/>
                <a:gd name="T17" fmla="*/ 16 h 50"/>
                <a:gd name="T18" fmla="*/ 25 w 86"/>
                <a:gd name="T19" fmla="*/ 16 h 50"/>
                <a:gd name="T20" fmla="*/ 27 w 86"/>
                <a:gd name="T21" fmla="*/ 15 h 50"/>
                <a:gd name="T22" fmla="*/ 28 w 86"/>
                <a:gd name="T23" fmla="*/ 14 h 50"/>
                <a:gd name="T24" fmla="*/ 28 w 86"/>
                <a:gd name="T25" fmla="*/ 13 h 50"/>
                <a:gd name="T26" fmla="*/ 29 w 86"/>
                <a:gd name="T27" fmla="*/ 11 h 50"/>
                <a:gd name="T28" fmla="*/ 29 w 86"/>
                <a:gd name="T29" fmla="*/ 9 h 50"/>
                <a:gd name="T30" fmla="*/ 29 w 86"/>
                <a:gd name="T31" fmla="*/ 6 h 50"/>
                <a:gd name="T32" fmla="*/ 28 w 86"/>
                <a:gd name="T33" fmla="*/ 3 h 50"/>
                <a:gd name="T34" fmla="*/ 28 w 86"/>
                <a:gd name="T35" fmla="*/ 2 h 50"/>
                <a:gd name="T36" fmla="*/ 27 w 86"/>
                <a:gd name="T37" fmla="*/ 2 h 50"/>
                <a:gd name="T38" fmla="*/ 26 w 86"/>
                <a:gd name="T39" fmla="*/ 1 h 50"/>
                <a:gd name="T40" fmla="*/ 25 w 86"/>
                <a:gd name="T41" fmla="*/ 0 h 50"/>
                <a:gd name="T42" fmla="*/ 0 w 86"/>
                <a:gd name="T43" fmla="*/ 13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7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38 w 172"/>
                <a:gd name="T1" fmla="*/ 21 h 74"/>
                <a:gd name="T2" fmla="*/ 35 w 172"/>
                <a:gd name="T3" fmla="*/ 21 h 74"/>
                <a:gd name="T4" fmla="*/ 32 w 172"/>
                <a:gd name="T5" fmla="*/ 21 h 74"/>
                <a:gd name="T6" fmla="*/ 29 w 172"/>
                <a:gd name="T7" fmla="*/ 21 h 74"/>
                <a:gd name="T8" fmla="*/ 26 w 172"/>
                <a:gd name="T9" fmla="*/ 21 h 74"/>
                <a:gd name="T10" fmla="*/ 19 w 172"/>
                <a:gd name="T11" fmla="*/ 25 h 74"/>
                <a:gd name="T12" fmla="*/ 11 w 172"/>
                <a:gd name="T13" fmla="*/ 25 h 74"/>
                <a:gd name="T14" fmla="*/ 12 w 172"/>
                <a:gd name="T15" fmla="*/ 21 h 74"/>
                <a:gd name="T16" fmla="*/ 12 w 172"/>
                <a:gd name="T17" fmla="*/ 17 h 74"/>
                <a:gd name="T18" fmla="*/ 10 w 172"/>
                <a:gd name="T19" fmla="*/ 17 h 74"/>
                <a:gd name="T20" fmla="*/ 7 w 172"/>
                <a:gd name="T21" fmla="*/ 16 h 74"/>
                <a:gd name="T22" fmla="*/ 5 w 172"/>
                <a:gd name="T23" fmla="*/ 16 h 74"/>
                <a:gd name="T24" fmla="*/ 3 w 172"/>
                <a:gd name="T25" fmla="*/ 15 h 74"/>
                <a:gd name="T26" fmla="*/ 2 w 172"/>
                <a:gd name="T27" fmla="*/ 14 h 74"/>
                <a:gd name="T28" fmla="*/ 1 w 172"/>
                <a:gd name="T29" fmla="*/ 13 h 74"/>
                <a:gd name="T30" fmla="*/ 0 w 172"/>
                <a:gd name="T31" fmla="*/ 12 h 74"/>
                <a:gd name="T32" fmla="*/ 0 w 172"/>
                <a:gd name="T33" fmla="*/ 10 h 74"/>
                <a:gd name="T34" fmla="*/ 0 w 172"/>
                <a:gd name="T35" fmla="*/ 9 h 74"/>
                <a:gd name="T36" fmla="*/ 1 w 172"/>
                <a:gd name="T37" fmla="*/ 7 h 74"/>
                <a:gd name="T38" fmla="*/ 2 w 172"/>
                <a:gd name="T39" fmla="*/ 6 h 74"/>
                <a:gd name="T40" fmla="*/ 3 w 172"/>
                <a:gd name="T41" fmla="*/ 5 h 74"/>
                <a:gd name="T42" fmla="*/ 4 w 172"/>
                <a:gd name="T43" fmla="*/ 3 h 74"/>
                <a:gd name="T44" fmla="*/ 6 w 172"/>
                <a:gd name="T45" fmla="*/ 2 h 74"/>
                <a:gd name="T46" fmla="*/ 8 w 172"/>
                <a:gd name="T47" fmla="*/ 2 h 74"/>
                <a:gd name="T48" fmla="*/ 9 w 172"/>
                <a:gd name="T49" fmla="*/ 1 h 74"/>
                <a:gd name="T50" fmla="*/ 13 w 172"/>
                <a:gd name="T51" fmla="*/ 0 h 74"/>
                <a:gd name="T52" fmla="*/ 18 w 172"/>
                <a:gd name="T53" fmla="*/ 0 h 74"/>
                <a:gd name="T54" fmla="*/ 22 w 172"/>
                <a:gd name="T55" fmla="*/ 0 h 74"/>
                <a:gd name="T56" fmla="*/ 26 w 172"/>
                <a:gd name="T57" fmla="*/ 0 h 74"/>
                <a:gd name="T58" fmla="*/ 30 w 172"/>
                <a:gd name="T59" fmla="*/ 0 h 74"/>
                <a:gd name="T60" fmla="*/ 34 w 172"/>
                <a:gd name="T61" fmla="*/ 1 h 74"/>
                <a:gd name="T62" fmla="*/ 37 w 172"/>
                <a:gd name="T63" fmla="*/ 2 h 74"/>
                <a:gd name="T64" fmla="*/ 41 w 172"/>
                <a:gd name="T65" fmla="*/ 4 h 74"/>
                <a:gd name="T66" fmla="*/ 44 w 172"/>
                <a:gd name="T67" fmla="*/ 6 h 74"/>
                <a:gd name="T68" fmla="*/ 48 w 172"/>
                <a:gd name="T69" fmla="*/ 7 h 74"/>
                <a:gd name="T70" fmla="*/ 51 w 172"/>
                <a:gd name="T71" fmla="*/ 8 h 74"/>
                <a:gd name="T72" fmla="*/ 55 w 172"/>
                <a:gd name="T73" fmla="*/ 8 h 74"/>
                <a:gd name="T74" fmla="*/ 55 w 172"/>
                <a:gd name="T75" fmla="*/ 15 h 74"/>
                <a:gd name="T76" fmla="*/ 54 w 172"/>
                <a:gd name="T77" fmla="*/ 16 h 74"/>
                <a:gd name="T78" fmla="*/ 53 w 172"/>
                <a:gd name="T79" fmla="*/ 18 h 74"/>
                <a:gd name="T80" fmla="*/ 51 w 172"/>
                <a:gd name="T81" fmla="*/ 19 h 74"/>
                <a:gd name="T82" fmla="*/ 51 w 172"/>
                <a:gd name="T83" fmla="*/ 20 h 74"/>
                <a:gd name="T84" fmla="*/ 49 w 172"/>
                <a:gd name="T85" fmla="*/ 21 h 74"/>
                <a:gd name="T86" fmla="*/ 48 w 172"/>
                <a:gd name="T87" fmla="*/ 21 h 74"/>
                <a:gd name="T88" fmla="*/ 47 w 172"/>
                <a:gd name="T89" fmla="*/ 22 h 74"/>
                <a:gd name="T90" fmla="*/ 45 w 172"/>
                <a:gd name="T91" fmla="*/ 22 h 74"/>
                <a:gd name="T92" fmla="*/ 42 w 172"/>
                <a:gd name="T93" fmla="*/ 22 h 74"/>
                <a:gd name="T94" fmla="*/ 39 w 172"/>
                <a:gd name="T95" fmla="*/ 21 h 74"/>
                <a:gd name="T96" fmla="*/ 36 w 172"/>
                <a:gd name="T97" fmla="*/ 20 h 74"/>
                <a:gd name="T98" fmla="*/ 32 w 172"/>
                <a:gd name="T99" fmla="*/ 19 h 74"/>
                <a:gd name="T100" fmla="*/ 34 w 172"/>
                <a:gd name="T101" fmla="*/ 19 h 74"/>
                <a:gd name="T102" fmla="*/ 38 w 172"/>
                <a:gd name="T103" fmla="*/ 21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8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9 w 120"/>
                <a:gd name="T1" fmla="*/ 17 h 49"/>
                <a:gd name="T2" fmla="*/ 15 w 120"/>
                <a:gd name="T3" fmla="*/ 17 h 49"/>
                <a:gd name="T4" fmla="*/ 20 w 120"/>
                <a:gd name="T5" fmla="*/ 17 h 49"/>
                <a:gd name="T6" fmla="*/ 25 w 120"/>
                <a:gd name="T7" fmla="*/ 16 h 49"/>
                <a:gd name="T8" fmla="*/ 29 w 120"/>
                <a:gd name="T9" fmla="*/ 15 h 49"/>
                <a:gd name="T10" fmla="*/ 30 w 120"/>
                <a:gd name="T11" fmla="*/ 14 h 49"/>
                <a:gd name="T12" fmla="*/ 32 w 120"/>
                <a:gd name="T13" fmla="*/ 13 h 49"/>
                <a:gd name="T14" fmla="*/ 33 w 120"/>
                <a:gd name="T15" fmla="*/ 12 h 49"/>
                <a:gd name="T16" fmla="*/ 34 w 120"/>
                <a:gd name="T17" fmla="*/ 11 h 49"/>
                <a:gd name="T18" fmla="*/ 36 w 120"/>
                <a:gd name="T19" fmla="*/ 8 h 49"/>
                <a:gd name="T20" fmla="*/ 38 w 120"/>
                <a:gd name="T21" fmla="*/ 4 h 49"/>
                <a:gd name="T22" fmla="*/ 32 w 120"/>
                <a:gd name="T23" fmla="*/ 2 h 49"/>
                <a:gd name="T24" fmla="*/ 27 w 120"/>
                <a:gd name="T25" fmla="*/ 1 h 49"/>
                <a:gd name="T26" fmla="*/ 21 w 120"/>
                <a:gd name="T27" fmla="*/ 0 h 49"/>
                <a:gd name="T28" fmla="*/ 16 w 120"/>
                <a:gd name="T29" fmla="*/ 0 h 49"/>
                <a:gd name="T30" fmla="*/ 11 w 120"/>
                <a:gd name="T31" fmla="*/ 0 h 49"/>
                <a:gd name="T32" fmla="*/ 6 w 120"/>
                <a:gd name="T33" fmla="*/ 1 h 49"/>
                <a:gd name="T34" fmla="*/ 3 w 120"/>
                <a:gd name="T35" fmla="*/ 1 h 49"/>
                <a:gd name="T36" fmla="*/ 0 w 120"/>
                <a:gd name="T37" fmla="*/ 2 h 49"/>
                <a:gd name="T38" fmla="*/ 0 w 120"/>
                <a:gd name="T39" fmla="*/ 10 h 49"/>
                <a:gd name="T40" fmla="*/ 1 w 120"/>
                <a:gd name="T41" fmla="*/ 12 h 49"/>
                <a:gd name="T42" fmla="*/ 2 w 120"/>
                <a:gd name="T43" fmla="*/ 13 h 49"/>
                <a:gd name="T44" fmla="*/ 3 w 120"/>
                <a:gd name="T45" fmla="*/ 14 h 49"/>
                <a:gd name="T46" fmla="*/ 4 w 120"/>
                <a:gd name="T47" fmla="*/ 16 h 49"/>
                <a:gd name="T48" fmla="*/ 6 w 120"/>
                <a:gd name="T49" fmla="*/ 17 h 49"/>
                <a:gd name="T50" fmla="*/ 9 w 120"/>
                <a:gd name="T51" fmla="*/ 17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9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10 w 85"/>
                <a:gd name="T1" fmla="*/ 0 h 61"/>
                <a:gd name="T2" fmla="*/ 7 w 85"/>
                <a:gd name="T3" fmla="*/ 2 h 61"/>
                <a:gd name="T4" fmla="*/ 3 w 85"/>
                <a:gd name="T5" fmla="*/ 4 h 61"/>
                <a:gd name="T6" fmla="*/ 2 w 85"/>
                <a:gd name="T7" fmla="*/ 5 h 61"/>
                <a:gd name="T8" fmla="*/ 1 w 85"/>
                <a:gd name="T9" fmla="*/ 7 h 61"/>
                <a:gd name="T10" fmla="*/ 0 w 85"/>
                <a:gd name="T11" fmla="*/ 8 h 61"/>
                <a:gd name="T12" fmla="*/ 0 w 85"/>
                <a:gd name="T13" fmla="*/ 10 h 61"/>
                <a:gd name="T14" fmla="*/ 0 w 85"/>
                <a:gd name="T15" fmla="*/ 11 h 61"/>
                <a:gd name="T16" fmla="*/ 0 w 85"/>
                <a:gd name="T17" fmla="*/ 12 h 61"/>
                <a:gd name="T18" fmla="*/ 1 w 85"/>
                <a:gd name="T19" fmla="*/ 12 h 61"/>
                <a:gd name="T20" fmla="*/ 2 w 85"/>
                <a:gd name="T21" fmla="*/ 13 h 61"/>
                <a:gd name="T22" fmla="*/ 3 w 85"/>
                <a:gd name="T23" fmla="*/ 15 h 61"/>
                <a:gd name="T24" fmla="*/ 6 w 85"/>
                <a:gd name="T25" fmla="*/ 17 h 61"/>
                <a:gd name="T26" fmla="*/ 8 w 85"/>
                <a:gd name="T27" fmla="*/ 17 h 61"/>
                <a:gd name="T28" fmla="*/ 11 w 85"/>
                <a:gd name="T29" fmla="*/ 18 h 61"/>
                <a:gd name="T30" fmla="*/ 14 w 85"/>
                <a:gd name="T31" fmla="*/ 19 h 61"/>
                <a:gd name="T32" fmla="*/ 16 w 85"/>
                <a:gd name="T33" fmla="*/ 19 h 61"/>
                <a:gd name="T34" fmla="*/ 17 w 85"/>
                <a:gd name="T35" fmla="*/ 19 h 61"/>
                <a:gd name="T36" fmla="*/ 18 w 85"/>
                <a:gd name="T37" fmla="*/ 19 h 61"/>
                <a:gd name="T38" fmla="*/ 19 w 85"/>
                <a:gd name="T39" fmla="*/ 18 h 61"/>
                <a:gd name="T40" fmla="*/ 20 w 85"/>
                <a:gd name="T41" fmla="*/ 18 h 61"/>
                <a:gd name="T42" fmla="*/ 22 w 85"/>
                <a:gd name="T43" fmla="*/ 16 h 61"/>
                <a:gd name="T44" fmla="*/ 24 w 85"/>
                <a:gd name="T45" fmla="*/ 15 h 61"/>
                <a:gd name="T46" fmla="*/ 24 w 85"/>
                <a:gd name="T47" fmla="*/ 12 h 61"/>
                <a:gd name="T48" fmla="*/ 25 w 85"/>
                <a:gd name="T49" fmla="*/ 10 h 61"/>
                <a:gd name="T50" fmla="*/ 26 w 85"/>
                <a:gd name="T51" fmla="*/ 8 h 61"/>
                <a:gd name="T52" fmla="*/ 26 w 85"/>
                <a:gd name="T53" fmla="*/ 6 h 61"/>
                <a:gd name="T54" fmla="*/ 1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0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2 h 19"/>
                <a:gd name="T2" fmla="*/ 2 w 100"/>
                <a:gd name="T3" fmla="*/ 3 h 19"/>
                <a:gd name="T4" fmla="*/ 4 w 100"/>
                <a:gd name="T5" fmla="*/ 5 h 19"/>
                <a:gd name="T6" fmla="*/ 7 w 100"/>
                <a:gd name="T7" fmla="*/ 6 h 19"/>
                <a:gd name="T8" fmla="*/ 8 w 100"/>
                <a:gd name="T9" fmla="*/ 6 h 19"/>
                <a:gd name="T10" fmla="*/ 31 w 100"/>
                <a:gd name="T11" fmla="*/ 2 h 19"/>
                <a:gd name="T12" fmla="*/ 23 w 100"/>
                <a:gd name="T13" fmla="*/ 1 h 19"/>
                <a:gd name="T14" fmla="*/ 15 w 100"/>
                <a:gd name="T15" fmla="*/ 0 h 19"/>
                <a:gd name="T16" fmla="*/ 11 w 100"/>
                <a:gd name="T17" fmla="*/ 0 h 19"/>
                <a:gd name="T18" fmla="*/ 7 w 100"/>
                <a:gd name="T19" fmla="*/ 0 h 19"/>
                <a:gd name="T20" fmla="*/ 4 w 100"/>
                <a:gd name="T21" fmla="*/ 1 h 19"/>
                <a:gd name="T22" fmla="*/ 0 w 100"/>
                <a:gd name="T23" fmla="*/ 2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1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9 h 45"/>
                <a:gd name="T2" fmla="*/ 0 w 166"/>
                <a:gd name="T3" fmla="*/ 10 h 45"/>
                <a:gd name="T4" fmla="*/ 1 w 166"/>
                <a:gd name="T5" fmla="*/ 10 h 45"/>
                <a:gd name="T6" fmla="*/ 3 w 166"/>
                <a:gd name="T7" fmla="*/ 11 h 45"/>
                <a:gd name="T8" fmla="*/ 4 w 166"/>
                <a:gd name="T9" fmla="*/ 12 h 45"/>
                <a:gd name="T10" fmla="*/ 9 w 166"/>
                <a:gd name="T11" fmla="*/ 13 h 45"/>
                <a:gd name="T12" fmla="*/ 14 w 166"/>
                <a:gd name="T13" fmla="*/ 14 h 45"/>
                <a:gd name="T14" fmla="*/ 24 w 166"/>
                <a:gd name="T15" fmla="*/ 15 h 45"/>
                <a:gd name="T16" fmla="*/ 29 w 166"/>
                <a:gd name="T17" fmla="*/ 15 h 45"/>
                <a:gd name="T18" fmla="*/ 53 w 166"/>
                <a:gd name="T19" fmla="*/ 9 h 45"/>
                <a:gd name="T20" fmla="*/ 50 w 166"/>
                <a:gd name="T21" fmla="*/ 8 h 45"/>
                <a:gd name="T22" fmla="*/ 44 w 166"/>
                <a:gd name="T23" fmla="*/ 6 h 45"/>
                <a:gd name="T24" fmla="*/ 35 w 166"/>
                <a:gd name="T25" fmla="*/ 4 h 45"/>
                <a:gd name="T26" fmla="*/ 26 w 166"/>
                <a:gd name="T27" fmla="*/ 1 h 45"/>
                <a:gd name="T28" fmla="*/ 21 w 166"/>
                <a:gd name="T29" fmla="*/ 1 h 45"/>
                <a:gd name="T30" fmla="*/ 16 w 166"/>
                <a:gd name="T31" fmla="*/ 0 h 45"/>
                <a:gd name="T32" fmla="*/ 11 w 166"/>
                <a:gd name="T33" fmla="*/ 0 h 45"/>
                <a:gd name="T34" fmla="*/ 8 w 166"/>
                <a:gd name="T35" fmla="*/ 1 h 45"/>
                <a:gd name="T36" fmla="*/ 6 w 166"/>
                <a:gd name="T37" fmla="*/ 1 h 45"/>
                <a:gd name="T38" fmla="*/ 4 w 166"/>
                <a:gd name="T39" fmla="*/ 2 h 45"/>
                <a:gd name="T40" fmla="*/ 3 w 166"/>
                <a:gd name="T41" fmla="*/ 2 h 45"/>
                <a:gd name="T42" fmla="*/ 2 w 166"/>
                <a:gd name="T43" fmla="*/ 3 h 45"/>
                <a:gd name="T44" fmla="*/ 1 w 166"/>
                <a:gd name="T45" fmla="*/ 4 h 45"/>
                <a:gd name="T46" fmla="*/ 0 w 166"/>
                <a:gd name="T47" fmla="*/ 6 h 45"/>
                <a:gd name="T48" fmla="*/ 0 w 166"/>
                <a:gd name="T49" fmla="*/ 7 h 45"/>
                <a:gd name="T50" fmla="*/ 0 w 166"/>
                <a:gd name="T51" fmla="*/ 9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2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3 h 25"/>
                <a:gd name="T4" fmla="*/ 1 w 33"/>
                <a:gd name="T5" fmla="*/ 5 h 25"/>
                <a:gd name="T6" fmla="*/ 2 w 33"/>
                <a:gd name="T7" fmla="*/ 6 h 25"/>
                <a:gd name="T8" fmla="*/ 4 w 33"/>
                <a:gd name="T9" fmla="*/ 7 h 25"/>
                <a:gd name="T10" fmla="*/ 5 w 33"/>
                <a:gd name="T11" fmla="*/ 8 h 25"/>
                <a:gd name="T12" fmla="*/ 7 w 33"/>
                <a:gd name="T13" fmla="*/ 8 h 25"/>
                <a:gd name="T14" fmla="*/ 9 w 33"/>
                <a:gd name="T15" fmla="*/ 8 h 25"/>
                <a:gd name="T16" fmla="*/ 11 w 33"/>
                <a:gd name="T17" fmla="*/ 8 h 25"/>
                <a:gd name="T18" fmla="*/ 11 w 33"/>
                <a:gd name="T19" fmla="*/ 0 h 25"/>
                <a:gd name="T20" fmla="*/ 8 w 33"/>
                <a:gd name="T21" fmla="*/ 0 h 25"/>
                <a:gd name="T22" fmla="*/ 5 w 33"/>
                <a:gd name="T23" fmla="*/ 0 h 25"/>
                <a:gd name="T24" fmla="*/ 3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3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20 h 62"/>
                <a:gd name="T2" fmla="*/ 4 w 48"/>
                <a:gd name="T3" fmla="*/ 18 h 62"/>
                <a:gd name="T4" fmla="*/ 7 w 48"/>
                <a:gd name="T5" fmla="*/ 16 h 62"/>
                <a:gd name="T6" fmla="*/ 10 w 48"/>
                <a:gd name="T7" fmla="*/ 14 h 62"/>
                <a:gd name="T8" fmla="*/ 12 w 48"/>
                <a:gd name="T9" fmla="*/ 12 h 62"/>
                <a:gd name="T10" fmla="*/ 14 w 48"/>
                <a:gd name="T11" fmla="*/ 9 h 62"/>
                <a:gd name="T12" fmla="*/ 15 w 48"/>
                <a:gd name="T13" fmla="*/ 6 h 62"/>
                <a:gd name="T14" fmla="*/ 16 w 48"/>
                <a:gd name="T15" fmla="*/ 3 h 62"/>
                <a:gd name="T16" fmla="*/ 16 w 48"/>
                <a:gd name="T17" fmla="*/ 0 h 62"/>
                <a:gd name="T18" fmla="*/ 13 w 48"/>
                <a:gd name="T19" fmla="*/ 1 h 62"/>
                <a:gd name="T20" fmla="*/ 11 w 48"/>
                <a:gd name="T21" fmla="*/ 2 h 62"/>
                <a:gd name="T22" fmla="*/ 8 w 48"/>
                <a:gd name="T23" fmla="*/ 3 h 62"/>
                <a:gd name="T24" fmla="*/ 6 w 48"/>
                <a:gd name="T25" fmla="*/ 5 h 62"/>
                <a:gd name="T26" fmla="*/ 3 w 48"/>
                <a:gd name="T27" fmla="*/ 7 h 62"/>
                <a:gd name="T28" fmla="*/ 2 w 48"/>
                <a:gd name="T29" fmla="*/ 9 h 62"/>
                <a:gd name="T30" fmla="*/ 1 w 48"/>
                <a:gd name="T31" fmla="*/ 10 h 62"/>
                <a:gd name="T32" fmla="*/ 1 w 48"/>
                <a:gd name="T33" fmla="*/ 11 h 62"/>
                <a:gd name="T34" fmla="*/ 0 w 48"/>
                <a:gd name="T35" fmla="*/ 13 h 62"/>
                <a:gd name="T36" fmla="*/ 0 w 48"/>
                <a:gd name="T37" fmla="*/ 14 h 62"/>
                <a:gd name="T38" fmla="*/ 0 w 48"/>
                <a:gd name="T39" fmla="*/ 17 h 62"/>
                <a:gd name="T40" fmla="*/ 0 w 48"/>
                <a:gd name="T41" fmla="*/ 2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4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15 w 113"/>
                <a:gd name="T1" fmla="*/ 0 h 62"/>
                <a:gd name="T2" fmla="*/ 11 w 113"/>
                <a:gd name="T3" fmla="*/ 2 h 62"/>
                <a:gd name="T4" fmla="*/ 7 w 113"/>
                <a:gd name="T5" fmla="*/ 5 h 62"/>
                <a:gd name="T6" fmla="*/ 4 w 113"/>
                <a:gd name="T7" fmla="*/ 9 h 62"/>
                <a:gd name="T8" fmla="*/ 0 w 113"/>
                <a:gd name="T9" fmla="*/ 12 h 62"/>
                <a:gd name="T10" fmla="*/ 7 w 113"/>
                <a:gd name="T11" fmla="*/ 15 h 62"/>
                <a:gd name="T12" fmla="*/ 13 w 113"/>
                <a:gd name="T13" fmla="*/ 17 h 62"/>
                <a:gd name="T14" fmla="*/ 16 w 113"/>
                <a:gd name="T15" fmla="*/ 18 h 62"/>
                <a:gd name="T16" fmla="*/ 20 w 113"/>
                <a:gd name="T17" fmla="*/ 19 h 62"/>
                <a:gd name="T18" fmla="*/ 23 w 113"/>
                <a:gd name="T19" fmla="*/ 20 h 62"/>
                <a:gd name="T20" fmla="*/ 28 w 113"/>
                <a:gd name="T21" fmla="*/ 20 h 62"/>
                <a:gd name="T22" fmla="*/ 31 w 113"/>
                <a:gd name="T23" fmla="*/ 20 h 62"/>
                <a:gd name="T24" fmla="*/ 34 w 113"/>
                <a:gd name="T25" fmla="*/ 19 h 62"/>
                <a:gd name="T26" fmla="*/ 35 w 113"/>
                <a:gd name="T27" fmla="*/ 18 h 62"/>
                <a:gd name="T28" fmla="*/ 35 w 113"/>
                <a:gd name="T29" fmla="*/ 17 h 62"/>
                <a:gd name="T30" fmla="*/ 36 w 113"/>
                <a:gd name="T31" fmla="*/ 17 h 62"/>
                <a:gd name="T32" fmla="*/ 36 w 113"/>
                <a:gd name="T33" fmla="*/ 16 h 62"/>
                <a:gd name="T34" fmla="*/ 29 w 113"/>
                <a:gd name="T35" fmla="*/ 13 h 62"/>
                <a:gd name="T36" fmla="*/ 22 w 113"/>
                <a:gd name="T37" fmla="*/ 10 h 62"/>
                <a:gd name="T38" fmla="*/ 21 w 113"/>
                <a:gd name="T39" fmla="*/ 9 h 62"/>
                <a:gd name="T40" fmla="*/ 19 w 113"/>
                <a:gd name="T41" fmla="*/ 8 h 62"/>
                <a:gd name="T42" fmla="*/ 18 w 113"/>
                <a:gd name="T43" fmla="*/ 7 h 62"/>
                <a:gd name="T44" fmla="*/ 17 w 113"/>
                <a:gd name="T45" fmla="*/ 6 h 62"/>
                <a:gd name="T46" fmla="*/ 16 w 113"/>
                <a:gd name="T47" fmla="*/ 5 h 62"/>
                <a:gd name="T48" fmla="*/ 15 w 113"/>
                <a:gd name="T49" fmla="*/ 3 h 62"/>
                <a:gd name="T50" fmla="*/ 15 w 113"/>
                <a:gd name="T51" fmla="*/ 2 h 62"/>
                <a:gd name="T52" fmla="*/ 15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5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5 w 93"/>
                <a:gd name="T3" fmla="*/ 0 h 50"/>
                <a:gd name="T4" fmla="*/ 9 w 93"/>
                <a:gd name="T5" fmla="*/ 0 h 50"/>
                <a:gd name="T6" fmla="*/ 14 w 93"/>
                <a:gd name="T7" fmla="*/ 1 h 50"/>
                <a:gd name="T8" fmla="*/ 18 w 93"/>
                <a:gd name="T9" fmla="*/ 2 h 50"/>
                <a:gd name="T10" fmla="*/ 20 w 93"/>
                <a:gd name="T11" fmla="*/ 2 h 50"/>
                <a:gd name="T12" fmla="*/ 22 w 93"/>
                <a:gd name="T13" fmla="*/ 3 h 50"/>
                <a:gd name="T14" fmla="*/ 23 w 93"/>
                <a:gd name="T15" fmla="*/ 4 h 50"/>
                <a:gd name="T16" fmla="*/ 25 w 93"/>
                <a:gd name="T17" fmla="*/ 5 h 50"/>
                <a:gd name="T18" fmla="*/ 27 w 93"/>
                <a:gd name="T19" fmla="*/ 6 h 50"/>
                <a:gd name="T20" fmla="*/ 28 w 93"/>
                <a:gd name="T21" fmla="*/ 8 h 50"/>
                <a:gd name="T22" fmla="*/ 28 w 93"/>
                <a:gd name="T23" fmla="*/ 9 h 50"/>
                <a:gd name="T24" fmla="*/ 29 w 93"/>
                <a:gd name="T25" fmla="*/ 11 h 50"/>
                <a:gd name="T26" fmla="*/ 25 w 93"/>
                <a:gd name="T27" fmla="*/ 11 h 50"/>
                <a:gd name="T28" fmla="*/ 21 w 93"/>
                <a:gd name="T29" fmla="*/ 12 h 50"/>
                <a:gd name="T30" fmla="*/ 19 w 93"/>
                <a:gd name="T31" fmla="*/ 12 h 50"/>
                <a:gd name="T32" fmla="*/ 16 w 93"/>
                <a:gd name="T33" fmla="*/ 13 h 50"/>
                <a:gd name="T34" fmla="*/ 13 w 93"/>
                <a:gd name="T35" fmla="*/ 14 h 50"/>
                <a:gd name="T36" fmla="*/ 10 w 93"/>
                <a:gd name="T37" fmla="*/ 15 h 50"/>
                <a:gd name="T38" fmla="*/ 9 w 93"/>
                <a:gd name="T39" fmla="*/ 15 h 50"/>
                <a:gd name="T40" fmla="*/ 9 w 93"/>
                <a:gd name="T41" fmla="*/ 14 h 50"/>
                <a:gd name="T42" fmla="*/ 8 w 93"/>
                <a:gd name="T43" fmla="*/ 14 h 50"/>
                <a:gd name="T44" fmla="*/ 8 w 93"/>
                <a:gd name="T45" fmla="*/ 14 h 50"/>
                <a:gd name="T46" fmla="*/ 7 w 93"/>
                <a:gd name="T47" fmla="*/ 12 h 50"/>
                <a:gd name="T48" fmla="*/ 7 w 93"/>
                <a:gd name="T49" fmla="*/ 11 h 50"/>
                <a:gd name="T50" fmla="*/ 7 w 93"/>
                <a:gd name="T51" fmla="*/ 9 h 50"/>
                <a:gd name="T52" fmla="*/ 7 w 93"/>
                <a:gd name="T53" fmla="*/ 8 h 50"/>
                <a:gd name="T54" fmla="*/ 7 w 93"/>
                <a:gd name="T55" fmla="*/ 7 h 50"/>
                <a:gd name="T56" fmla="*/ 8 w 93"/>
                <a:gd name="T57" fmla="*/ 6 h 50"/>
                <a:gd name="T58" fmla="*/ 0 w 93"/>
                <a:gd name="T59" fmla="*/ 6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6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6 w 1029"/>
                <a:gd name="T1" fmla="*/ 37 h 604"/>
                <a:gd name="T2" fmla="*/ 22 w 1029"/>
                <a:gd name="T3" fmla="*/ 20 h 604"/>
                <a:gd name="T4" fmla="*/ 86 w 1029"/>
                <a:gd name="T5" fmla="*/ 0 h 604"/>
                <a:gd name="T6" fmla="*/ 66 w 1029"/>
                <a:gd name="T7" fmla="*/ 15 h 604"/>
                <a:gd name="T8" fmla="*/ 58 w 1029"/>
                <a:gd name="T9" fmla="*/ 34 h 604"/>
                <a:gd name="T10" fmla="*/ 88 w 1029"/>
                <a:gd name="T11" fmla="*/ 20 h 604"/>
                <a:gd name="T12" fmla="*/ 128 w 1029"/>
                <a:gd name="T13" fmla="*/ 5 h 604"/>
                <a:gd name="T14" fmla="*/ 141 w 1029"/>
                <a:gd name="T15" fmla="*/ 8 h 604"/>
                <a:gd name="T16" fmla="*/ 139 w 1029"/>
                <a:gd name="T17" fmla="*/ 23 h 604"/>
                <a:gd name="T18" fmla="*/ 187 w 1029"/>
                <a:gd name="T19" fmla="*/ 26 h 604"/>
                <a:gd name="T20" fmla="*/ 217 w 1029"/>
                <a:gd name="T21" fmla="*/ 29 h 604"/>
                <a:gd name="T22" fmla="*/ 241 w 1029"/>
                <a:gd name="T23" fmla="*/ 36 h 604"/>
                <a:gd name="T24" fmla="*/ 241 w 1029"/>
                <a:gd name="T25" fmla="*/ 44 h 604"/>
                <a:gd name="T26" fmla="*/ 229 w 1029"/>
                <a:gd name="T27" fmla="*/ 60 h 604"/>
                <a:gd name="T28" fmla="*/ 257 w 1029"/>
                <a:gd name="T29" fmla="*/ 55 h 604"/>
                <a:gd name="T30" fmla="*/ 279 w 1029"/>
                <a:gd name="T31" fmla="*/ 63 h 604"/>
                <a:gd name="T32" fmla="*/ 275 w 1029"/>
                <a:gd name="T33" fmla="*/ 78 h 604"/>
                <a:gd name="T34" fmla="*/ 253 w 1029"/>
                <a:gd name="T35" fmla="*/ 81 h 604"/>
                <a:gd name="T36" fmla="*/ 276 w 1029"/>
                <a:gd name="T37" fmla="*/ 93 h 604"/>
                <a:gd name="T38" fmla="*/ 290 w 1029"/>
                <a:gd name="T39" fmla="*/ 107 h 604"/>
                <a:gd name="T40" fmla="*/ 314 w 1029"/>
                <a:gd name="T41" fmla="*/ 108 h 604"/>
                <a:gd name="T42" fmla="*/ 331 w 1029"/>
                <a:gd name="T43" fmla="*/ 115 h 604"/>
                <a:gd name="T44" fmla="*/ 302 w 1029"/>
                <a:gd name="T45" fmla="*/ 134 h 604"/>
                <a:gd name="T46" fmla="*/ 289 w 1029"/>
                <a:gd name="T47" fmla="*/ 137 h 604"/>
                <a:gd name="T48" fmla="*/ 281 w 1029"/>
                <a:gd name="T49" fmla="*/ 145 h 604"/>
                <a:gd name="T50" fmla="*/ 267 w 1029"/>
                <a:gd name="T51" fmla="*/ 136 h 604"/>
                <a:gd name="T52" fmla="*/ 274 w 1029"/>
                <a:gd name="T53" fmla="*/ 129 h 604"/>
                <a:gd name="T54" fmla="*/ 255 w 1029"/>
                <a:gd name="T55" fmla="*/ 124 h 604"/>
                <a:gd name="T56" fmla="*/ 244 w 1029"/>
                <a:gd name="T57" fmla="*/ 119 h 604"/>
                <a:gd name="T58" fmla="*/ 239 w 1029"/>
                <a:gd name="T59" fmla="*/ 129 h 604"/>
                <a:gd name="T60" fmla="*/ 240 w 1029"/>
                <a:gd name="T61" fmla="*/ 146 h 604"/>
                <a:gd name="T62" fmla="*/ 256 w 1029"/>
                <a:gd name="T63" fmla="*/ 171 h 604"/>
                <a:gd name="T64" fmla="*/ 248 w 1029"/>
                <a:gd name="T65" fmla="*/ 179 h 604"/>
                <a:gd name="T66" fmla="*/ 228 w 1029"/>
                <a:gd name="T67" fmla="*/ 182 h 604"/>
                <a:gd name="T68" fmla="*/ 199 w 1029"/>
                <a:gd name="T69" fmla="*/ 169 h 604"/>
                <a:gd name="T70" fmla="*/ 215 w 1029"/>
                <a:gd name="T71" fmla="*/ 186 h 604"/>
                <a:gd name="T72" fmla="*/ 214 w 1029"/>
                <a:gd name="T73" fmla="*/ 198 h 604"/>
                <a:gd name="T74" fmla="*/ 167 w 1029"/>
                <a:gd name="T75" fmla="*/ 187 h 604"/>
                <a:gd name="T76" fmla="*/ 152 w 1029"/>
                <a:gd name="T77" fmla="*/ 171 h 604"/>
                <a:gd name="T78" fmla="*/ 132 w 1029"/>
                <a:gd name="T79" fmla="*/ 155 h 604"/>
                <a:gd name="T80" fmla="*/ 118 w 1029"/>
                <a:gd name="T81" fmla="*/ 149 h 604"/>
                <a:gd name="T82" fmla="*/ 126 w 1029"/>
                <a:gd name="T83" fmla="*/ 142 h 604"/>
                <a:gd name="T84" fmla="*/ 148 w 1029"/>
                <a:gd name="T85" fmla="*/ 131 h 604"/>
                <a:gd name="T86" fmla="*/ 161 w 1029"/>
                <a:gd name="T87" fmla="*/ 124 h 604"/>
                <a:gd name="T88" fmla="*/ 186 w 1029"/>
                <a:gd name="T89" fmla="*/ 125 h 604"/>
                <a:gd name="T90" fmla="*/ 198 w 1029"/>
                <a:gd name="T91" fmla="*/ 129 h 604"/>
                <a:gd name="T92" fmla="*/ 221 w 1029"/>
                <a:gd name="T93" fmla="*/ 127 h 604"/>
                <a:gd name="T94" fmla="*/ 187 w 1029"/>
                <a:gd name="T95" fmla="*/ 116 h 604"/>
                <a:gd name="T96" fmla="*/ 174 w 1029"/>
                <a:gd name="T97" fmla="*/ 118 h 604"/>
                <a:gd name="T98" fmla="*/ 173 w 1029"/>
                <a:gd name="T99" fmla="*/ 115 h 604"/>
                <a:gd name="T100" fmla="*/ 185 w 1029"/>
                <a:gd name="T101" fmla="*/ 100 h 604"/>
                <a:gd name="T102" fmla="*/ 185 w 1029"/>
                <a:gd name="T103" fmla="*/ 90 h 604"/>
                <a:gd name="T104" fmla="*/ 169 w 1029"/>
                <a:gd name="T105" fmla="*/ 83 h 604"/>
                <a:gd name="T106" fmla="*/ 152 w 1029"/>
                <a:gd name="T107" fmla="*/ 65 h 604"/>
                <a:gd name="T108" fmla="*/ 140 w 1029"/>
                <a:gd name="T109" fmla="*/ 55 h 604"/>
                <a:gd name="T110" fmla="*/ 131 w 1029"/>
                <a:gd name="T111" fmla="*/ 53 h 604"/>
                <a:gd name="T112" fmla="*/ 122 w 1029"/>
                <a:gd name="T113" fmla="*/ 67 h 604"/>
                <a:gd name="T114" fmla="*/ 67 w 1029"/>
                <a:gd name="T115" fmla="*/ 57 h 604"/>
                <a:gd name="T116" fmla="*/ 37 w 1029"/>
                <a:gd name="T117" fmla="*/ 62 h 604"/>
                <a:gd name="T118" fmla="*/ 25 w 1029"/>
                <a:gd name="T119" fmla="*/ 61 h 604"/>
                <a:gd name="T120" fmla="*/ 5 w 1029"/>
                <a:gd name="T121" fmla="*/ 59 h 604"/>
                <a:gd name="T122" fmla="*/ 3 w 1029"/>
                <a:gd name="T123" fmla="*/ 52 h 604"/>
                <a:gd name="T124" fmla="*/ 24 w 1029"/>
                <a:gd name="T125" fmla="*/ 49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7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257 w 1268"/>
                <a:gd name="T1" fmla="*/ 12 h 321"/>
                <a:gd name="T2" fmla="*/ 262 w 1268"/>
                <a:gd name="T3" fmla="*/ 5 h 321"/>
                <a:gd name="T4" fmla="*/ 273 w 1268"/>
                <a:gd name="T5" fmla="*/ 3 h 321"/>
                <a:gd name="T6" fmla="*/ 279 w 1268"/>
                <a:gd name="T7" fmla="*/ 8 h 321"/>
                <a:gd name="T8" fmla="*/ 303 w 1268"/>
                <a:gd name="T9" fmla="*/ 5 h 321"/>
                <a:gd name="T10" fmla="*/ 329 w 1268"/>
                <a:gd name="T11" fmla="*/ 0 h 321"/>
                <a:gd name="T12" fmla="*/ 350 w 1268"/>
                <a:gd name="T13" fmla="*/ 6 h 321"/>
                <a:gd name="T14" fmla="*/ 365 w 1268"/>
                <a:gd name="T15" fmla="*/ 7 h 321"/>
                <a:gd name="T16" fmla="*/ 409 w 1268"/>
                <a:gd name="T17" fmla="*/ 10 h 321"/>
                <a:gd name="T18" fmla="*/ 401 w 1268"/>
                <a:gd name="T19" fmla="*/ 16 h 321"/>
                <a:gd name="T20" fmla="*/ 375 w 1268"/>
                <a:gd name="T21" fmla="*/ 21 h 321"/>
                <a:gd name="T22" fmla="*/ 340 w 1268"/>
                <a:gd name="T23" fmla="*/ 25 h 321"/>
                <a:gd name="T24" fmla="*/ 332 w 1268"/>
                <a:gd name="T25" fmla="*/ 31 h 321"/>
                <a:gd name="T26" fmla="*/ 322 w 1268"/>
                <a:gd name="T27" fmla="*/ 34 h 321"/>
                <a:gd name="T28" fmla="*/ 304 w 1268"/>
                <a:gd name="T29" fmla="*/ 33 h 321"/>
                <a:gd name="T30" fmla="*/ 300 w 1268"/>
                <a:gd name="T31" fmla="*/ 39 h 321"/>
                <a:gd name="T32" fmla="*/ 241 w 1268"/>
                <a:gd name="T33" fmla="*/ 44 h 321"/>
                <a:gd name="T34" fmla="*/ 215 w 1268"/>
                <a:gd name="T35" fmla="*/ 51 h 321"/>
                <a:gd name="T36" fmla="*/ 205 w 1268"/>
                <a:gd name="T37" fmla="*/ 59 h 321"/>
                <a:gd name="T38" fmla="*/ 191 w 1268"/>
                <a:gd name="T39" fmla="*/ 55 h 321"/>
                <a:gd name="T40" fmla="*/ 184 w 1268"/>
                <a:gd name="T41" fmla="*/ 59 h 321"/>
                <a:gd name="T42" fmla="*/ 190 w 1268"/>
                <a:gd name="T43" fmla="*/ 68 h 321"/>
                <a:gd name="T44" fmla="*/ 176 w 1268"/>
                <a:gd name="T45" fmla="*/ 78 h 321"/>
                <a:gd name="T46" fmla="*/ 156 w 1268"/>
                <a:gd name="T47" fmla="*/ 77 h 321"/>
                <a:gd name="T48" fmla="*/ 130 w 1268"/>
                <a:gd name="T49" fmla="*/ 79 h 321"/>
                <a:gd name="T50" fmla="*/ 131 w 1268"/>
                <a:gd name="T51" fmla="*/ 84 h 321"/>
                <a:gd name="T52" fmla="*/ 126 w 1268"/>
                <a:gd name="T53" fmla="*/ 96 h 321"/>
                <a:gd name="T54" fmla="*/ 107 w 1268"/>
                <a:gd name="T55" fmla="*/ 105 h 321"/>
                <a:gd name="T56" fmla="*/ 94 w 1268"/>
                <a:gd name="T57" fmla="*/ 97 h 321"/>
                <a:gd name="T58" fmla="*/ 82 w 1268"/>
                <a:gd name="T59" fmla="*/ 93 h 321"/>
                <a:gd name="T60" fmla="*/ 31 w 1268"/>
                <a:gd name="T61" fmla="*/ 90 h 321"/>
                <a:gd name="T62" fmla="*/ 0 w 1268"/>
                <a:gd name="T63" fmla="*/ 93 h 321"/>
                <a:gd name="T64" fmla="*/ 3 w 1268"/>
                <a:gd name="T65" fmla="*/ 87 h 321"/>
                <a:gd name="T66" fmla="*/ 18 w 1268"/>
                <a:gd name="T67" fmla="*/ 80 h 321"/>
                <a:gd name="T68" fmla="*/ 46 w 1268"/>
                <a:gd name="T69" fmla="*/ 77 h 321"/>
                <a:gd name="T70" fmla="*/ 55 w 1268"/>
                <a:gd name="T71" fmla="*/ 74 h 321"/>
                <a:gd name="T72" fmla="*/ 61 w 1268"/>
                <a:gd name="T73" fmla="*/ 71 h 321"/>
                <a:gd name="T74" fmla="*/ 71 w 1268"/>
                <a:gd name="T75" fmla="*/ 76 h 321"/>
                <a:gd name="T76" fmla="*/ 80 w 1268"/>
                <a:gd name="T77" fmla="*/ 81 h 321"/>
                <a:gd name="T78" fmla="*/ 67 w 1268"/>
                <a:gd name="T79" fmla="*/ 68 h 321"/>
                <a:gd name="T80" fmla="*/ 62 w 1268"/>
                <a:gd name="T81" fmla="*/ 65 h 321"/>
                <a:gd name="T82" fmla="*/ 64 w 1268"/>
                <a:gd name="T83" fmla="*/ 59 h 321"/>
                <a:gd name="T84" fmla="*/ 79 w 1268"/>
                <a:gd name="T85" fmla="*/ 57 h 321"/>
                <a:gd name="T86" fmla="*/ 118 w 1268"/>
                <a:gd name="T87" fmla="*/ 61 h 321"/>
                <a:gd name="T88" fmla="*/ 135 w 1268"/>
                <a:gd name="T89" fmla="*/ 57 h 321"/>
                <a:gd name="T90" fmla="*/ 104 w 1268"/>
                <a:gd name="T91" fmla="*/ 55 h 321"/>
                <a:gd name="T92" fmla="*/ 96 w 1268"/>
                <a:gd name="T93" fmla="*/ 49 h 321"/>
                <a:gd name="T94" fmla="*/ 122 w 1268"/>
                <a:gd name="T95" fmla="*/ 45 h 321"/>
                <a:gd name="T96" fmla="*/ 141 w 1268"/>
                <a:gd name="T97" fmla="*/ 51 h 321"/>
                <a:gd name="T98" fmla="*/ 154 w 1268"/>
                <a:gd name="T99" fmla="*/ 41 h 321"/>
                <a:gd name="T100" fmla="*/ 214 w 1268"/>
                <a:gd name="T101" fmla="*/ 28 h 321"/>
                <a:gd name="T102" fmla="*/ 190 w 1268"/>
                <a:gd name="T103" fmla="*/ 36 h 321"/>
                <a:gd name="T104" fmla="*/ 145 w 1268"/>
                <a:gd name="T105" fmla="*/ 36 h 321"/>
                <a:gd name="T106" fmla="*/ 101 w 1268"/>
                <a:gd name="T107" fmla="*/ 38 h 321"/>
                <a:gd name="T108" fmla="*/ 82 w 1268"/>
                <a:gd name="T109" fmla="*/ 33 h 321"/>
                <a:gd name="T110" fmla="*/ 71 w 1268"/>
                <a:gd name="T111" fmla="*/ 26 h 321"/>
                <a:gd name="T112" fmla="*/ 82 w 1268"/>
                <a:gd name="T113" fmla="*/ 23 h 321"/>
                <a:gd name="T114" fmla="*/ 144 w 1268"/>
                <a:gd name="T115" fmla="*/ 15 h 321"/>
                <a:gd name="T116" fmla="*/ 199 w 1268"/>
                <a:gd name="T117" fmla="*/ 10 h 321"/>
                <a:gd name="T118" fmla="*/ 217 w 1268"/>
                <a:gd name="T119" fmla="*/ 7 h 321"/>
                <a:gd name="T120" fmla="*/ 244 w 1268"/>
                <a:gd name="T121" fmla="*/ 9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8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3 h 117"/>
                <a:gd name="T4" fmla="*/ 1 w 160"/>
                <a:gd name="T5" fmla="*/ 6 h 117"/>
                <a:gd name="T6" fmla="*/ 3 w 160"/>
                <a:gd name="T7" fmla="*/ 9 h 117"/>
                <a:gd name="T8" fmla="*/ 5 w 160"/>
                <a:gd name="T9" fmla="*/ 13 h 117"/>
                <a:gd name="T10" fmla="*/ 7 w 160"/>
                <a:gd name="T11" fmla="*/ 16 h 117"/>
                <a:gd name="T12" fmla="*/ 10 w 160"/>
                <a:gd name="T13" fmla="*/ 19 h 117"/>
                <a:gd name="T14" fmla="*/ 13 w 160"/>
                <a:gd name="T15" fmla="*/ 22 h 117"/>
                <a:gd name="T16" fmla="*/ 16 w 160"/>
                <a:gd name="T17" fmla="*/ 25 h 117"/>
                <a:gd name="T18" fmla="*/ 20 w 160"/>
                <a:gd name="T19" fmla="*/ 28 h 117"/>
                <a:gd name="T20" fmla="*/ 23 w 160"/>
                <a:gd name="T21" fmla="*/ 30 h 117"/>
                <a:gd name="T22" fmla="*/ 27 w 160"/>
                <a:gd name="T23" fmla="*/ 32 h 117"/>
                <a:gd name="T24" fmla="*/ 30 w 160"/>
                <a:gd name="T25" fmla="*/ 34 h 117"/>
                <a:gd name="T26" fmla="*/ 34 w 160"/>
                <a:gd name="T27" fmla="*/ 36 h 117"/>
                <a:gd name="T28" fmla="*/ 37 w 160"/>
                <a:gd name="T29" fmla="*/ 37 h 117"/>
                <a:gd name="T30" fmla="*/ 40 w 160"/>
                <a:gd name="T31" fmla="*/ 38 h 117"/>
                <a:gd name="T32" fmla="*/ 42 w 160"/>
                <a:gd name="T33" fmla="*/ 38 h 117"/>
                <a:gd name="T34" fmla="*/ 44 w 160"/>
                <a:gd name="T35" fmla="*/ 38 h 117"/>
                <a:gd name="T36" fmla="*/ 47 w 160"/>
                <a:gd name="T37" fmla="*/ 37 h 117"/>
                <a:gd name="T38" fmla="*/ 49 w 160"/>
                <a:gd name="T39" fmla="*/ 36 h 117"/>
                <a:gd name="T40" fmla="*/ 51 w 160"/>
                <a:gd name="T41" fmla="*/ 34 h 117"/>
                <a:gd name="T42" fmla="*/ 48 w 160"/>
                <a:gd name="T43" fmla="*/ 30 h 117"/>
                <a:gd name="T44" fmla="*/ 45 w 160"/>
                <a:gd name="T45" fmla="*/ 26 h 117"/>
                <a:gd name="T46" fmla="*/ 44 w 160"/>
                <a:gd name="T47" fmla="*/ 24 h 117"/>
                <a:gd name="T48" fmla="*/ 43 w 160"/>
                <a:gd name="T49" fmla="*/ 21 h 117"/>
                <a:gd name="T50" fmla="*/ 42 w 160"/>
                <a:gd name="T51" fmla="*/ 19 h 117"/>
                <a:gd name="T52" fmla="*/ 42 w 160"/>
                <a:gd name="T53" fmla="*/ 16 h 117"/>
                <a:gd name="T54" fmla="*/ 40 w 160"/>
                <a:gd name="T55" fmla="*/ 16 h 117"/>
                <a:gd name="T56" fmla="*/ 38 w 160"/>
                <a:gd name="T57" fmla="*/ 15 h 117"/>
                <a:gd name="T58" fmla="*/ 34 w 160"/>
                <a:gd name="T59" fmla="*/ 13 h 117"/>
                <a:gd name="T60" fmla="*/ 31 w 160"/>
                <a:gd name="T61" fmla="*/ 11 h 117"/>
                <a:gd name="T62" fmla="*/ 28 w 160"/>
                <a:gd name="T63" fmla="*/ 9 h 117"/>
                <a:gd name="T64" fmla="*/ 25 w 160"/>
                <a:gd name="T65" fmla="*/ 7 h 117"/>
                <a:gd name="T66" fmla="*/ 24 w 160"/>
                <a:gd name="T67" fmla="*/ 6 h 117"/>
                <a:gd name="T68" fmla="*/ 23 w 160"/>
                <a:gd name="T69" fmla="*/ 4 h 117"/>
                <a:gd name="T70" fmla="*/ 22 w 160"/>
                <a:gd name="T71" fmla="*/ 3 h 117"/>
                <a:gd name="T72" fmla="*/ 21 w 160"/>
                <a:gd name="T73" fmla="*/ 2 h 117"/>
                <a:gd name="T74" fmla="*/ 19 w 160"/>
                <a:gd name="T75" fmla="*/ 2 h 117"/>
                <a:gd name="T76" fmla="*/ 17 w 160"/>
                <a:gd name="T77" fmla="*/ 2 h 117"/>
                <a:gd name="T78" fmla="*/ 14 w 160"/>
                <a:gd name="T79" fmla="*/ 1 h 117"/>
                <a:gd name="T80" fmla="*/ 11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9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13 w 80"/>
                <a:gd name="T1" fmla="*/ 40 h 141"/>
                <a:gd name="T2" fmla="*/ 26 w 80"/>
                <a:gd name="T3" fmla="*/ 12 h 141"/>
                <a:gd name="T4" fmla="*/ 26 w 80"/>
                <a:gd name="T5" fmla="*/ 6 h 141"/>
                <a:gd name="T6" fmla="*/ 22 w 80"/>
                <a:gd name="T7" fmla="*/ 6 h 141"/>
                <a:gd name="T8" fmla="*/ 19 w 80"/>
                <a:gd name="T9" fmla="*/ 5 h 141"/>
                <a:gd name="T10" fmla="*/ 17 w 80"/>
                <a:gd name="T11" fmla="*/ 5 h 141"/>
                <a:gd name="T12" fmla="*/ 15 w 80"/>
                <a:gd name="T13" fmla="*/ 4 h 141"/>
                <a:gd name="T14" fmla="*/ 14 w 80"/>
                <a:gd name="T15" fmla="*/ 3 h 141"/>
                <a:gd name="T16" fmla="*/ 14 w 80"/>
                <a:gd name="T17" fmla="*/ 2 h 141"/>
                <a:gd name="T18" fmla="*/ 13 w 80"/>
                <a:gd name="T19" fmla="*/ 1 h 141"/>
                <a:gd name="T20" fmla="*/ 13 w 80"/>
                <a:gd name="T21" fmla="*/ 0 h 141"/>
                <a:gd name="T22" fmla="*/ 0 w 80"/>
                <a:gd name="T23" fmla="*/ 0 h 141"/>
                <a:gd name="T24" fmla="*/ 0 w 80"/>
                <a:gd name="T25" fmla="*/ 8 h 141"/>
                <a:gd name="T26" fmla="*/ 0 w 80"/>
                <a:gd name="T27" fmla="*/ 13 h 141"/>
                <a:gd name="T28" fmla="*/ 0 w 80"/>
                <a:gd name="T29" fmla="*/ 17 h 141"/>
                <a:gd name="T30" fmla="*/ 0 w 80"/>
                <a:gd name="T31" fmla="*/ 20 h 141"/>
                <a:gd name="T32" fmla="*/ 0 w 80"/>
                <a:gd name="T33" fmla="*/ 23 h 141"/>
                <a:gd name="T34" fmla="*/ 1 w 80"/>
                <a:gd name="T35" fmla="*/ 25 h 141"/>
                <a:gd name="T36" fmla="*/ 2 w 80"/>
                <a:gd name="T37" fmla="*/ 29 h 141"/>
                <a:gd name="T38" fmla="*/ 4 w 80"/>
                <a:gd name="T39" fmla="*/ 32 h 141"/>
                <a:gd name="T40" fmla="*/ 7 w 80"/>
                <a:gd name="T41" fmla="*/ 39 h 141"/>
                <a:gd name="T42" fmla="*/ 9 w 80"/>
                <a:gd name="T43" fmla="*/ 46 h 141"/>
                <a:gd name="T44" fmla="*/ 10 w 80"/>
                <a:gd name="T45" fmla="*/ 44 h 141"/>
                <a:gd name="T46" fmla="*/ 11 w 80"/>
                <a:gd name="T47" fmla="*/ 42 h 141"/>
                <a:gd name="T48" fmla="*/ 11 w 80"/>
                <a:gd name="T49" fmla="*/ 41 h 141"/>
                <a:gd name="T50" fmla="*/ 12 w 80"/>
                <a:gd name="T51" fmla="*/ 41 h 141"/>
                <a:gd name="T52" fmla="*/ 12 w 80"/>
                <a:gd name="T53" fmla="*/ 40 h 141"/>
                <a:gd name="T54" fmla="*/ 13 w 80"/>
                <a:gd name="T55" fmla="*/ 4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0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31 h 124"/>
                <a:gd name="T2" fmla="*/ 0 w 259"/>
                <a:gd name="T3" fmla="*/ 32 h 124"/>
                <a:gd name="T4" fmla="*/ 1 w 259"/>
                <a:gd name="T5" fmla="*/ 33 h 124"/>
                <a:gd name="T6" fmla="*/ 1 w 259"/>
                <a:gd name="T7" fmla="*/ 34 h 124"/>
                <a:gd name="T8" fmla="*/ 2 w 259"/>
                <a:gd name="T9" fmla="*/ 35 h 124"/>
                <a:gd name="T10" fmla="*/ 4 w 259"/>
                <a:gd name="T11" fmla="*/ 37 h 124"/>
                <a:gd name="T12" fmla="*/ 7 w 259"/>
                <a:gd name="T13" fmla="*/ 38 h 124"/>
                <a:gd name="T14" fmla="*/ 10 w 259"/>
                <a:gd name="T15" fmla="*/ 40 h 124"/>
                <a:gd name="T16" fmla="*/ 13 w 259"/>
                <a:gd name="T17" fmla="*/ 40 h 124"/>
                <a:gd name="T18" fmla="*/ 16 w 259"/>
                <a:gd name="T19" fmla="*/ 41 h 124"/>
                <a:gd name="T20" fmla="*/ 19 w 259"/>
                <a:gd name="T21" fmla="*/ 41 h 124"/>
                <a:gd name="T22" fmla="*/ 22 w 259"/>
                <a:gd name="T23" fmla="*/ 41 h 124"/>
                <a:gd name="T24" fmla="*/ 24 w 259"/>
                <a:gd name="T25" fmla="*/ 41 h 124"/>
                <a:gd name="T26" fmla="*/ 26 w 259"/>
                <a:gd name="T27" fmla="*/ 40 h 124"/>
                <a:gd name="T28" fmla="*/ 28 w 259"/>
                <a:gd name="T29" fmla="*/ 40 h 124"/>
                <a:gd name="T30" fmla="*/ 31 w 259"/>
                <a:gd name="T31" fmla="*/ 38 h 124"/>
                <a:gd name="T32" fmla="*/ 34 w 259"/>
                <a:gd name="T33" fmla="*/ 36 h 124"/>
                <a:gd name="T34" fmla="*/ 37 w 259"/>
                <a:gd name="T35" fmla="*/ 34 h 124"/>
                <a:gd name="T36" fmla="*/ 40 w 259"/>
                <a:gd name="T37" fmla="*/ 32 h 124"/>
                <a:gd name="T38" fmla="*/ 42 w 259"/>
                <a:gd name="T39" fmla="*/ 32 h 124"/>
                <a:gd name="T40" fmla="*/ 44 w 259"/>
                <a:gd name="T41" fmla="*/ 31 h 124"/>
                <a:gd name="T42" fmla="*/ 46 w 259"/>
                <a:gd name="T43" fmla="*/ 31 h 124"/>
                <a:gd name="T44" fmla="*/ 49 w 259"/>
                <a:gd name="T45" fmla="*/ 31 h 124"/>
                <a:gd name="T46" fmla="*/ 52 w 259"/>
                <a:gd name="T47" fmla="*/ 31 h 124"/>
                <a:gd name="T48" fmla="*/ 55 w 259"/>
                <a:gd name="T49" fmla="*/ 32 h 124"/>
                <a:gd name="T50" fmla="*/ 58 w 259"/>
                <a:gd name="T51" fmla="*/ 33 h 124"/>
                <a:gd name="T52" fmla="*/ 60 w 259"/>
                <a:gd name="T53" fmla="*/ 34 h 124"/>
                <a:gd name="T54" fmla="*/ 65 w 259"/>
                <a:gd name="T55" fmla="*/ 37 h 124"/>
                <a:gd name="T56" fmla="*/ 70 w 259"/>
                <a:gd name="T57" fmla="*/ 39 h 124"/>
                <a:gd name="T58" fmla="*/ 83 w 259"/>
                <a:gd name="T59" fmla="*/ 39 h 124"/>
                <a:gd name="T60" fmla="*/ 83 w 259"/>
                <a:gd name="T61" fmla="*/ 33 h 124"/>
                <a:gd name="T62" fmla="*/ 81 w 259"/>
                <a:gd name="T63" fmla="*/ 32 h 124"/>
                <a:gd name="T64" fmla="*/ 78 w 259"/>
                <a:gd name="T65" fmla="*/ 32 h 124"/>
                <a:gd name="T66" fmla="*/ 76 w 259"/>
                <a:gd name="T67" fmla="*/ 31 h 124"/>
                <a:gd name="T68" fmla="*/ 72 w 259"/>
                <a:gd name="T69" fmla="*/ 31 h 124"/>
                <a:gd name="T70" fmla="*/ 74 w 259"/>
                <a:gd name="T71" fmla="*/ 28 h 124"/>
                <a:gd name="T72" fmla="*/ 76 w 259"/>
                <a:gd name="T73" fmla="*/ 26 h 124"/>
                <a:gd name="T74" fmla="*/ 77 w 259"/>
                <a:gd name="T75" fmla="*/ 24 h 124"/>
                <a:gd name="T76" fmla="*/ 79 w 259"/>
                <a:gd name="T77" fmla="*/ 23 h 124"/>
                <a:gd name="T78" fmla="*/ 76 w 259"/>
                <a:gd name="T79" fmla="*/ 20 h 124"/>
                <a:gd name="T80" fmla="*/ 74 w 259"/>
                <a:gd name="T81" fmla="*/ 19 h 124"/>
                <a:gd name="T82" fmla="*/ 71 w 259"/>
                <a:gd name="T83" fmla="*/ 17 h 124"/>
                <a:gd name="T84" fmla="*/ 69 w 259"/>
                <a:gd name="T85" fmla="*/ 15 h 124"/>
                <a:gd name="T86" fmla="*/ 63 w 259"/>
                <a:gd name="T87" fmla="*/ 12 h 124"/>
                <a:gd name="T88" fmla="*/ 58 w 259"/>
                <a:gd name="T89" fmla="*/ 10 h 124"/>
                <a:gd name="T90" fmla="*/ 53 w 259"/>
                <a:gd name="T91" fmla="*/ 8 h 124"/>
                <a:gd name="T92" fmla="*/ 49 w 259"/>
                <a:gd name="T93" fmla="*/ 6 h 124"/>
                <a:gd name="T94" fmla="*/ 47 w 259"/>
                <a:gd name="T95" fmla="*/ 4 h 124"/>
                <a:gd name="T96" fmla="*/ 45 w 259"/>
                <a:gd name="T97" fmla="*/ 3 h 124"/>
                <a:gd name="T98" fmla="*/ 44 w 259"/>
                <a:gd name="T99" fmla="*/ 2 h 124"/>
                <a:gd name="T100" fmla="*/ 42 w 259"/>
                <a:gd name="T101" fmla="*/ 0 h 124"/>
                <a:gd name="T102" fmla="*/ 40 w 259"/>
                <a:gd name="T103" fmla="*/ 1 h 124"/>
                <a:gd name="T104" fmla="*/ 37 w 259"/>
                <a:gd name="T105" fmla="*/ 2 h 124"/>
                <a:gd name="T106" fmla="*/ 34 w 259"/>
                <a:gd name="T107" fmla="*/ 4 h 124"/>
                <a:gd name="T108" fmla="*/ 30 w 259"/>
                <a:gd name="T109" fmla="*/ 6 h 124"/>
                <a:gd name="T110" fmla="*/ 24 w 259"/>
                <a:gd name="T111" fmla="*/ 10 h 124"/>
                <a:gd name="T112" fmla="*/ 18 w 259"/>
                <a:gd name="T113" fmla="*/ 14 h 124"/>
                <a:gd name="T114" fmla="*/ 12 w 259"/>
                <a:gd name="T115" fmla="*/ 19 h 124"/>
                <a:gd name="T116" fmla="*/ 7 w 259"/>
                <a:gd name="T117" fmla="*/ 23 h 124"/>
                <a:gd name="T118" fmla="*/ 3 w 259"/>
                <a:gd name="T119" fmla="*/ 27 h 124"/>
                <a:gd name="T120" fmla="*/ 0 w 259"/>
                <a:gd name="T121" fmla="*/ 31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1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11 h 57"/>
                <a:gd name="T2" fmla="*/ 2 w 119"/>
                <a:gd name="T3" fmla="*/ 12 h 57"/>
                <a:gd name="T4" fmla="*/ 4 w 119"/>
                <a:gd name="T5" fmla="*/ 13 h 57"/>
                <a:gd name="T6" fmla="*/ 6 w 119"/>
                <a:gd name="T7" fmla="*/ 14 h 57"/>
                <a:gd name="T8" fmla="*/ 8 w 119"/>
                <a:gd name="T9" fmla="*/ 16 h 57"/>
                <a:gd name="T10" fmla="*/ 10 w 119"/>
                <a:gd name="T11" fmla="*/ 17 h 57"/>
                <a:gd name="T12" fmla="*/ 11 w 119"/>
                <a:gd name="T13" fmla="*/ 18 h 57"/>
                <a:gd name="T14" fmla="*/ 13 w 119"/>
                <a:gd name="T15" fmla="*/ 19 h 57"/>
                <a:gd name="T16" fmla="*/ 15 w 119"/>
                <a:gd name="T17" fmla="*/ 19 h 57"/>
                <a:gd name="T18" fmla="*/ 18 w 119"/>
                <a:gd name="T19" fmla="*/ 19 h 57"/>
                <a:gd name="T20" fmla="*/ 20 w 119"/>
                <a:gd name="T21" fmla="*/ 19 h 57"/>
                <a:gd name="T22" fmla="*/ 22 w 119"/>
                <a:gd name="T23" fmla="*/ 18 h 57"/>
                <a:gd name="T24" fmla="*/ 25 w 119"/>
                <a:gd name="T25" fmla="*/ 18 h 57"/>
                <a:gd name="T26" fmla="*/ 27 w 119"/>
                <a:gd name="T27" fmla="*/ 17 h 57"/>
                <a:gd name="T28" fmla="*/ 28 w 119"/>
                <a:gd name="T29" fmla="*/ 16 h 57"/>
                <a:gd name="T30" fmla="*/ 30 w 119"/>
                <a:gd name="T31" fmla="*/ 15 h 57"/>
                <a:gd name="T32" fmla="*/ 31 w 119"/>
                <a:gd name="T33" fmla="*/ 13 h 57"/>
                <a:gd name="T34" fmla="*/ 34 w 119"/>
                <a:gd name="T35" fmla="*/ 11 h 57"/>
                <a:gd name="T36" fmla="*/ 36 w 119"/>
                <a:gd name="T37" fmla="*/ 8 h 57"/>
                <a:gd name="T38" fmla="*/ 37 w 119"/>
                <a:gd name="T39" fmla="*/ 4 h 57"/>
                <a:gd name="T40" fmla="*/ 38 w 119"/>
                <a:gd name="T41" fmla="*/ 0 h 57"/>
                <a:gd name="T42" fmla="*/ 32 w 119"/>
                <a:gd name="T43" fmla="*/ 0 h 57"/>
                <a:gd name="T44" fmla="*/ 26 w 119"/>
                <a:gd name="T45" fmla="*/ 0 h 57"/>
                <a:gd name="T46" fmla="*/ 20 w 119"/>
                <a:gd name="T47" fmla="*/ 1 h 57"/>
                <a:gd name="T48" fmla="*/ 14 w 119"/>
                <a:gd name="T49" fmla="*/ 2 h 57"/>
                <a:gd name="T50" fmla="*/ 11 w 119"/>
                <a:gd name="T51" fmla="*/ 2 h 57"/>
                <a:gd name="T52" fmla="*/ 9 w 119"/>
                <a:gd name="T53" fmla="*/ 3 h 57"/>
                <a:gd name="T54" fmla="*/ 7 w 119"/>
                <a:gd name="T55" fmla="*/ 4 h 57"/>
                <a:gd name="T56" fmla="*/ 5 w 119"/>
                <a:gd name="T57" fmla="*/ 5 h 57"/>
                <a:gd name="T58" fmla="*/ 3 w 119"/>
                <a:gd name="T59" fmla="*/ 6 h 57"/>
                <a:gd name="T60" fmla="*/ 2 w 119"/>
                <a:gd name="T61" fmla="*/ 8 h 57"/>
                <a:gd name="T62" fmla="*/ 1 w 119"/>
                <a:gd name="T63" fmla="*/ 9 h 57"/>
                <a:gd name="T64" fmla="*/ 0 w 119"/>
                <a:gd name="T65" fmla="*/ 11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2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16 h 52"/>
                <a:gd name="T2" fmla="*/ 2 w 107"/>
                <a:gd name="T3" fmla="*/ 17 h 52"/>
                <a:gd name="T4" fmla="*/ 3 w 107"/>
                <a:gd name="T5" fmla="*/ 17 h 52"/>
                <a:gd name="T6" fmla="*/ 4 w 107"/>
                <a:gd name="T7" fmla="*/ 17 h 52"/>
                <a:gd name="T8" fmla="*/ 5 w 107"/>
                <a:gd name="T9" fmla="*/ 17 h 52"/>
                <a:gd name="T10" fmla="*/ 8 w 107"/>
                <a:gd name="T11" fmla="*/ 16 h 52"/>
                <a:gd name="T12" fmla="*/ 11 w 107"/>
                <a:gd name="T13" fmla="*/ 16 h 52"/>
                <a:gd name="T14" fmla="*/ 14 w 107"/>
                <a:gd name="T15" fmla="*/ 16 h 52"/>
                <a:gd name="T16" fmla="*/ 17 w 107"/>
                <a:gd name="T17" fmla="*/ 16 h 52"/>
                <a:gd name="T18" fmla="*/ 20 w 107"/>
                <a:gd name="T19" fmla="*/ 15 h 52"/>
                <a:gd name="T20" fmla="*/ 22 w 107"/>
                <a:gd name="T21" fmla="*/ 14 h 52"/>
                <a:gd name="T22" fmla="*/ 25 w 107"/>
                <a:gd name="T23" fmla="*/ 13 h 52"/>
                <a:gd name="T24" fmla="*/ 28 w 107"/>
                <a:gd name="T25" fmla="*/ 12 h 52"/>
                <a:gd name="T26" fmla="*/ 31 w 107"/>
                <a:gd name="T27" fmla="*/ 10 h 52"/>
                <a:gd name="T28" fmla="*/ 34 w 107"/>
                <a:gd name="T29" fmla="*/ 8 h 52"/>
                <a:gd name="T30" fmla="*/ 34 w 107"/>
                <a:gd name="T31" fmla="*/ 0 h 52"/>
                <a:gd name="T32" fmla="*/ 31 w 107"/>
                <a:gd name="T33" fmla="*/ 0 h 52"/>
                <a:gd name="T34" fmla="*/ 27 w 107"/>
                <a:gd name="T35" fmla="*/ 1 h 52"/>
                <a:gd name="T36" fmla="*/ 23 w 107"/>
                <a:gd name="T37" fmla="*/ 2 h 52"/>
                <a:gd name="T38" fmla="*/ 18 w 107"/>
                <a:gd name="T39" fmla="*/ 4 h 52"/>
                <a:gd name="T40" fmla="*/ 13 w 107"/>
                <a:gd name="T41" fmla="*/ 7 h 52"/>
                <a:gd name="T42" fmla="*/ 8 w 107"/>
                <a:gd name="T43" fmla="*/ 9 h 52"/>
                <a:gd name="T44" fmla="*/ 6 w 107"/>
                <a:gd name="T45" fmla="*/ 11 h 52"/>
                <a:gd name="T46" fmla="*/ 4 w 107"/>
                <a:gd name="T47" fmla="*/ 12 h 52"/>
                <a:gd name="T48" fmla="*/ 2 w 107"/>
                <a:gd name="T49" fmla="*/ 14 h 52"/>
                <a:gd name="T50" fmla="*/ 0 w 107"/>
                <a:gd name="T51" fmla="*/ 16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3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9 w 246"/>
                <a:gd name="T1" fmla="*/ 32 h 99"/>
                <a:gd name="T2" fmla="*/ 7 w 246"/>
                <a:gd name="T3" fmla="*/ 31 h 99"/>
                <a:gd name="T4" fmla="*/ 5 w 246"/>
                <a:gd name="T5" fmla="*/ 31 h 99"/>
                <a:gd name="T6" fmla="*/ 4 w 246"/>
                <a:gd name="T7" fmla="*/ 30 h 99"/>
                <a:gd name="T8" fmla="*/ 3 w 246"/>
                <a:gd name="T9" fmla="*/ 29 h 99"/>
                <a:gd name="T10" fmla="*/ 2 w 246"/>
                <a:gd name="T11" fmla="*/ 28 h 99"/>
                <a:gd name="T12" fmla="*/ 1 w 246"/>
                <a:gd name="T13" fmla="*/ 27 h 99"/>
                <a:gd name="T14" fmla="*/ 0 w 246"/>
                <a:gd name="T15" fmla="*/ 25 h 99"/>
                <a:gd name="T16" fmla="*/ 0 w 246"/>
                <a:gd name="T17" fmla="*/ 24 h 99"/>
                <a:gd name="T18" fmla="*/ 0 w 246"/>
                <a:gd name="T19" fmla="*/ 22 h 99"/>
                <a:gd name="T20" fmla="*/ 0 w 246"/>
                <a:gd name="T21" fmla="*/ 21 h 99"/>
                <a:gd name="T22" fmla="*/ 1 w 246"/>
                <a:gd name="T23" fmla="*/ 19 h 99"/>
                <a:gd name="T24" fmla="*/ 2 w 246"/>
                <a:gd name="T25" fmla="*/ 18 h 99"/>
                <a:gd name="T26" fmla="*/ 3 w 246"/>
                <a:gd name="T27" fmla="*/ 16 h 99"/>
                <a:gd name="T28" fmla="*/ 6 w 246"/>
                <a:gd name="T29" fmla="*/ 13 h 99"/>
                <a:gd name="T30" fmla="*/ 8 w 246"/>
                <a:gd name="T31" fmla="*/ 11 h 99"/>
                <a:gd name="T32" fmla="*/ 11 w 246"/>
                <a:gd name="T33" fmla="*/ 9 h 99"/>
                <a:gd name="T34" fmla="*/ 15 w 246"/>
                <a:gd name="T35" fmla="*/ 7 h 99"/>
                <a:gd name="T36" fmla="*/ 18 w 246"/>
                <a:gd name="T37" fmla="*/ 6 h 99"/>
                <a:gd name="T38" fmla="*/ 22 w 246"/>
                <a:gd name="T39" fmla="*/ 5 h 99"/>
                <a:gd name="T40" fmla="*/ 26 w 246"/>
                <a:gd name="T41" fmla="*/ 3 h 99"/>
                <a:gd name="T42" fmla="*/ 30 w 246"/>
                <a:gd name="T43" fmla="*/ 2 h 99"/>
                <a:gd name="T44" fmla="*/ 33 w 246"/>
                <a:gd name="T45" fmla="*/ 1 h 99"/>
                <a:gd name="T46" fmla="*/ 40 w 246"/>
                <a:gd name="T47" fmla="*/ 0 h 99"/>
                <a:gd name="T48" fmla="*/ 45 w 246"/>
                <a:gd name="T49" fmla="*/ 0 h 99"/>
                <a:gd name="T50" fmla="*/ 54 w 246"/>
                <a:gd name="T51" fmla="*/ 0 h 99"/>
                <a:gd name="T52" fmla="*/ 62 w 246"/>
                <a:gd name="T53" fmla="*/ 0 h 99"/>
                <a:gd name="T54" fmla="*/ 70 w 246"/>
                <a:gd name="T55" fmla="*/ 1 h 99"/>
                <a:gd name="T56" fmla="*/ 79 w 246"/>
                <a:gd name="T57" fmla="*/ 2 h 99"/>
                <a:gd name="T58" fmla="*/ 78 w 246"/>
                <a:gd name="T59" fmla="*/ 4 h 99"/>
                <a:gd name="T60" fmla="*/ 77 w 246"/>
                <a:gd name="T61" fmla="*/ 5 h 99"/>
                <a:gd name="T62" fmla="*/ 76 w 246"/>
                <a:gd name="T63" fmla="*/ 6 h 99"/>
                <a:gd name="T64" fmla="*/ 74 w 246"/>
                <a:gd name="T65" fmla="*/ 8 h 99"/>
                <a:gd name="T66" fmla="*/ 69 w 246"/>
                <a:gd name="T67" fmla="*/ 12 h 99"/>
                <a:gd name="T68" fmla="*/ 64 w 246"/>
                <a:gd name="T69" fmla="*/ 15 h 99"/>
                <a:gd name="T70" fmla="*/ 58 w 246"/>
                <a:gd name="T71" fmla="*/ 18 h 99"/>
                <a:gd name="T72" fmla="*/ 52 w 246"/>
                <a:gd name="T73" fmla="*/ 20 h 99"/>
                <a:gd name="T74" fmla="*/ 49 w 246"/>
                <a:gd name="T75" fmla="*/ 21 h 99"/>
                <a:gd name="T76" fmla="*/ 46 w 246"/>
                <a:gd name="T77" fmla="*/ 21 h 99"/>
                <a:gd name="T78" fmla="*/ 43 w 246"/>
                <a:gd name="T79" fmla="*/ 22 h 99"/>
                <a:gd name="T80" fmla="*/ 40 w 246"/>
                <a:gd name="T81" fmla="*/ 22 h 99"/>
                <a:gd name="T82" fmla="*/ 39 w 246"/>
                <a:gd name="T83" fmla="*/ 22 h 99"/>
                <a:gd name="T84" fmla="*/ 35 w 246"/>
                <a:gd name="T85" fmla="*/ 22 h 99"/>
                <a:gd name="T86" fmla="*/ 32 w 246"/>
                <a:gd name="T87" fmla="*/ 22 h 99"/>
                <a:gd name="T88" fmla="*/ 30 w 246"/>
                <a:gd name="T89" fmla="*/ 22 h 99"/>
                <a:gd name="T90" fmla="*/ 28 w 246"/>
                <a:gd name="T91" fmla="*/ 22 h 99"/>
                <a:gd name="T92" fmla="*/ 26 w 246"/>
                <a:gd name="T93" fmla="*/ 23 h 99"/>
                <a:gd name="T94" fmla="*/ 23 w 246"/>
                <a:gd name="T95" fmla="*/ 25 h 99"/>
                <a:gd name="T96" fmla="*/ 20 w 246"/>
                <a:gd name="T97" fmla="*/ 27 h 99"/>
                <a:gd name="T98" fmla="*/ 17 w 246"/>
                <a:gd name="T99" fmla="*/ 28 h 99"/>
                <a:gd name="T100" fmla="*/ 14 w 246"/>
                <a:gd name="T101" fmla="*/ 30 h 99"/>
                <a:gd name="T102" fmla="*/ 11 w 246"/>
                <a:gd name="T103" fmla="*/ 31 h 99"/>
                <a:gd name="T104" fmla="*/ 9 w 246"/>
                <a:gd name="T105" fmla="*/ 32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4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11 w 233"/>
                <a:gd name="T1" fmla="*/ 29 h 123"/>
                <a:gd name="T2" fmla="*/ 3 w 233"/>
                <a:gd name="T3" fmla="*/ 25 h 123"/>
                <a:gd name="T4" fmla="*/ 0 w 233"/>
                <a:gd name="T5" fmla="*/ 18 h 123"/>
                <a:gd name="T6" fmla="*/ 7 w 233"/>
                <a:gd name="T7" fmla="*/ 12 h 123"/>
                <a:gd name="T8" fmla="*/ 13 w 233"/>
                <a:gd name="T9" fmla="*/ 12 h 123"/>
                <a:gd name="T10" fmla="*/ 20 w 233"/>
                <a:gd name="T11" fmla="*/ 12 h 123"/>
                <a:gd name="T12" fmla="*/ 23 w 233"/>
                <a:gd name="T13" fmla="*/ 12 h 123"/>
                <a:gd name="T14" fmla="*/ 27 w 233"/>
                <a:gd name="T15" fmla="*/ 11 h 123"/>
                <a:gd name="T16" fmla="*/ 34 w 233"/>
                <a:gd name="T17" fmla="*/ 7 h 123"/>
                <a:gd name="T18" fmla="*/ 40 w 233"/>
                <a:gd name="T19" fmla="*/ 4 h 123"/>
                <a:gd name="T20" fmla="*/ 48 w 233"/>
                <a:gd name="T21" fmla="*/ 0 h 123"/>
                <a:gd name="T22" fmla="*/ 53 w 233"/>
                <a:gd name="T23" fmla="*/ 3 h 123"/>
                <a:gd name="T24" fmla="*/ 59 w 233"/>
                <a:gd name="T25" fmla="*/ 4 h 123"/>
                <a:gd name="T26" fmla="*/ 62 w 233"/>
                <a:gd name="T27" fmla="*/ 3 h 123"/>
                <a:gd name="T28" fmla="*/ 66 w 233"/>
                <a:gd name="T29" fmla="*/ 2 h 123"/>
                <a:gd name="T30" fmla="*/ 69 w 233"/>
                <a:gd name="T31" fmla="*/ 0 h 123"/>
                <a:gd name="T32" fmla="*/ 76 w 233"/>
                <a:gd name="T33" fmla="*/ 2 h 123"/>
                <a:gd name="T34" fmla="*/ 74 w 233"/>
                <a:gd name="T35" fmla="*/ 6 h 123"/>
                <a:gd name="T36" fmla="*/ 71 w 233"/>
                <a:gd name="T37" fmla="*/ 8 h 123"/>
                <a:gd name="T38" fmla="*/ 68 w 233"/>
                <a:gd name="T39" fmla="*/ 10 h 123"/>
                <a:gd name="T40" fmla="*/ 66 w 233"/>
                <a:gd name="T41" fmla="*/ 14 h 123"/>
                <a:gd name="T42" fmla="*/ 67 w 233"/>
                <a:gd name="T43" fmla="*/ 20 h 123"/>
                <a:gd name="T44" fmla="*/ 60 w 233"/>
                <a:gd name="T45" fmla="*/ 28 h 123"/>
                <a:gd name="T46" fmla="*/ 51 w 233"/>
                <a:gd name="T47" fmla="*/ 31 h 123"/>
                <a:gd name="T48" fmla="*/ 45 w 233"/>
                <a:gd name="T49" fmla="*/ 32 h 123"/>
                <a:gd name="T50" fmla="*/ 38 w 233"/>
                <a:gd name="T51" fmla="*/ 33 h 123"/>
                <a:gd name="T52" fmla="*/ 31 w 233"/>
                <a:gd name="T53" fmla="*/ 34 h 123"/>
                <a:gd name="T54" fmla="*/ 27 w 233"/>
                <a:gd name="T55" fmla="*/ 37 h 123"/>
                <a:gd name="T56" fmla="*/ 22 w 233"/>
                <a:gd name="T57" fmla="*/ 40 h 123"/>
                <a:gd name="T58" fmla="*/ 19 w 233"/>
                <a:gd name="T59" fmla="*/ 40 h 123"/>
                <a:gd name="T60" fmla="*/ 17 w 233"/>
                <a:gd name="T61" fmla="*/ 37 h 123"/>
                <a:gd name="T62" fmla="*/ 16 w 233"/>
                <a:gd name="T63" fmla="*/ 33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5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48 h 172"/>
                <a:gd name="T2" fmla="*/ 1 w 484"/>
                <a:gd name="T3" fmla="*/ 51 h 172"/>
                <a:gd name="T4" fmla="*/ 3 w 484"/>
                <a:gd name="T5" fmla="*/ 53 h 172"/>
                <a:gd name="T6" fmla="*/ 6 w 484"/>
                <a:gd name="T7" fmla="*/ 54 h 172"/>
                <a:gd name="T8" fmla="*/ 10 w 484"/>
                <a:gd name="T9" fmla="*/ 55 h 172"/>
                <a:gd name="T10" fmla="*/ 17 w 484"/>
                <a:gd name="T11" fmla="*/ 56 h 172"/>
                <a:gd name="T12" fmla="*/ 24 w 484"/>
                <a:gd name="T13" fmla="*/ 56 h 172"/>
                <a:gd name="T14" fmla="*/ 32 w 484"/>
                <a:gd name="T15" fmla="*/ 54 h 172"/>
                <a:gd name="T16" fmla="*/ 45 w 484"/>
                <a:gd name="T17" fmla="*/ 51 h 172"/>
                <a:gd name="T18" fmla="*/ 61 w 484"/>
                <a:gd name="T19" fmla="*/ 44 h 172"/>
                <a:gd name="T20" fmla="*/ 78 w 484"/>
                <a:gd name="T21" fmla="*/ 37 h 172"/>
                <a:gd name="T22" fmla="*/ 93 w 484"/>
                <a:gd name="T23" fmla="*/ 33 h 172"/>
                <a:gd name="T24" fmla="*/ 114 w 484"/>
                <a:gd name="T25" fmla="*/ 28 h 172"/>
                <a:gd name="T26" fmla="*/ 130 w 484"/>
                <a:gd name="T27" fmla="*/ 24 h 172"/>
                <a:gd name="T28" fmla="*/ 141 w 484"/>
                <a:gd name="T29" fmla="*/ 21 h 172"/>
                <a:gd name="T30" fmla="*/ 150 w 484"/>
                <a:gd name="T31" fmla="*/ 17 h 172"/>
                <a:gd name="T32" fmla="*/ 154 w 484"/>
                <a:gd name="T33" fmla="*/ 14 h 172"/>
                <a:gd name="T34" fmla="*/ 156 w 484"/>
                <a:gd name="T35" fmla="*/ 11 h 172"/>
                <a:gd name="T36" fmla="*/ 146 w 484"/>
                <a:gd name="T37" fmla="*/ 8 h 172"/>
                <a:gd name="T38" fmla="*/ 126 w 484"/>
                <a:gd name="T39" fmla="*/ 5 h 172"/>
                <a:gd name="T40" fmla="*/ 107 w 484"/>
                <a:gd name="T41" fmla="*/ 2 h 172"/>
                <a:gd name="T42" fmla="*/ 88 w 484"/>
                <a:gd name="T43" fmla="*/ 0 h 172"/>
                <a:gd name="T44" fmla="*/ 73 w 484"/>
                <a:gd name="T45" fmla="*/ 0 h 172"/>
                <a:gd name="T46" fmla="*/ 66 w 484"/>
                <a:gd name="T47" fmla="*/ 1 h 172"/>
                <a:gd name="T48" fmla="*/ 60 w 484"/>
                <a:gd name="T49" fmla="*/ 3 h 172"/>
                <a:gd name="T50" fmla="*/ 57 w 484"/>
                <a:gd name="T51" fmla="*/ 2 h 172"/>
                <a:gd name="T52" fmla="*/ 55 w 484"/>
                <a:gd name="T53" fmla="*/ 1 h 172"/>
                <a:gd name="T54" fmla="*/ 54 w 484"/>
                <a:gd name="T55" fmla="*/ 3 h 172"/>
                <a:gd name="T56" fmla="*/ 52 w 484"/>
                <a:gd name="T57" fmla="*/ 8 h 172"/>
                <a:gd name="T58" fmla="*/ 50 w 484"/>
                <a:gd name="T59" fmla="*/ 12 h 172"/>
                <a:gd name="T60" fmla="*/ 47 w 484"/>
                <a:gd name="T61" fmla="*/ 15 h 172"/>
                <a:gd name="T62" fmla="*/ 41 w 484"/>
                <a:gd name="T63" fmla="*/ 19 h 172"/>
                <a:gd name="T64" fmla="*/ 31 w 484"/>
                <a:gd name="T65" fmla="*/ 22 h 172"/>
                <a:gd name="T66" fmla="*/ 21 w 484"/>
                <a:gd name="T67" fmla="*/ 25 h 172"/>
                <a:gd name="T68" fmla="*/ 12 w 484"/>
                <a:gd name="T69" fmla="*/ 29 h 172"/>
                <a:gd name="T70" fmla="*/ 6 w 484"/>
                <a:gd name="T71" fmla="*/ 32 h 172"/>
                <a:gd name="T72" fmla="*/ 3 w 484"/>
                <a:gd name="T73" fmla="*/ 35 h 172"/>
                <a:gd name="T74" fmla="*/ 1 w 484"/>
                <a:gd name="T75" fmla="*/ 39 h 172"/>
                <a:gd name="T76" fmla="*/ 0 w 484"/>
                <a:gd name="T77" fmla="*/ 44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6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102 w 684"/>
                <a:gd name="T1" fmla="*/ 2 h 240"/>
                <a:gd name="T2" fmla="*/ 98 w 684"/>
                <a:gd name="T3" fmla="*/ 9 h 240"/>
                <a:gd name="T4" fmla="*/ 96 w 684"/>
                <a:gd name="T5" fmla="*/ 13 h 240"/>
                <a:gd name="T6" fmla="*/ 97 w 684"/>
                <a:gd name="T7" fmla="*/ 14 h 240"/>
                <a:gd name="T8" fmla="*/ 109 w 684"/>
                <a:gd name="T9" fmla="*/ 13 h 240"/>
                <a:gd name="T10" fmla="*/ 120 w 684"/>
                <a:gd name="T11" fmla="*/ 6 h 240"/>
                <a:gd name="T12" fmla="*/ 122 w 684"/>
                <a:gd name="T13" fmla="*/ 13 h 240"/>
                <a:gd name="T14" fmla="*/ 122 w 684"/>
                <a:gd name="T15" fmla="*/ 18 h 240"/>
                <a:gd name="T16" fmla="*/ 131 w 684"/>
                <a:gd name="T17" fmla="*/ 23 h 240"/>
                <a:gd name="T18" fmla="*/ 165 w 684"/>
                <a:gd name="T19" fmla="*/ 17 h 240"/>
                <a:gd name="T20" fmla="*/ 166 w 684"/>
                <a:gd name="T21" fmla="*/ 23 h 240"/>
                <a:gd name="T22" fmla="*/ 175 w 684"/>
                <a:gd name="T23" fmla="*/ 21 h 240"/>
                <a:gd name="T24" fmla="*/ 180 w 684"/>
                <a:gd name="T25" fmla="*/ 15 h 240"/>
                <a:gd name="T26" fmla="*/ 180 w 684"/>
                <a:gd name="T27" fmla="*/ 6 h 240"/>
                <a:gd name="T28" fmla="*/ 182 w 684"/>
                <a:gd name="T29" fmla="*/ 3 h 240"/>
                <a:gd name="T30" fmla="*/ 187 w 684"/>
                <a:gd name="T31" fmla="*/ 0 h 240"/>
                <a:gd name="T32" fmla="*/ 202 w 684"/>
                <a:gd name="T33" fmla="*/ 1 h 240"/>
                <a:gd name="T34" fmla="*/ 208 w 684"/>
                <a:gd name="T35" fmla="*/ 0 h 240"/>
                <a:gd name="T36" fmla="*/ 212 w 684"/>
                <a:gd name="T37" fmla="*/ 13 h 240"/>
                <a:gd name="T38" fmla="*/ 211 w 684"/>
                <a:gd name="T39" fmla="*/ 23 h 240"/>
                <a:gd name="T40" fmla="*/ 206 w 684"/>
                <a:gd name="T41" fmla="*/ 33 h 240"/>
                <a:gd name="T42" fmla="*/ 200 w 684"/>
                <a:gd name="T43" fmla="*/ 41 h 240"/>
                <a:gd name="T44" fmla="*/ 209 w 684"/>
                <a:gd name="T45" fmla="*/ 45 h 240"/>
                <a:gd name="T46" fmla="*/ 217 w 684"/>
                <a:gd name="T47" fmla="*/ 48 h 240"/>
                <a:gd name="T48" fmla="*/ 221 w 684"/>
                <a:gd name="T49" fmla="*/ 59 h 240"/>
                <a:gd name="T50" fmla="*/ 206 w 684"/>
                <a:gd name="T51" fmla="*/ 61 h 240"/>
                <a:gd name="T52" fmla="*/ 196 w 684"/>
                <a:gd name="T53" fmla="*/ 60 h 240"/>
                <a:gd name="T54" fmla="*/ 185 w 684"/>
                <a:gd name="T55" fmla="*/ 59 h 240"/>
                <a:gd name="T56" fmla="*/ 182 w 684"/>
                <a:gd name="T57" fmla="*/ 61 h 240"/>
                <a:gd name="T58" fmla="*/ 175 w 684"/>
                <a:gd name="T59" fmla="*/ 66 h 240"/>
                <a:gd name="T60" fmla="*/ 169 w 684"/>
                <a:gd name="T61" fmla="*/ 69 h 240"/>
                <a:gd name="T62" fmla="*/ 159 w 684"/>
                <a:gd name="T63" fmla="*/ 69 h 240"/>
                <a:gd name="T64" fmla="*/ 146 w 684"/>
                <a:gd name="T65" fmla="*/ 67 h 240"/>
                <a:gd name="T66" fmla="*/ 136 w 684"/>
                <a:gd name="T67" fmla="*/ 65 h 240"/>
                <a:gd name="T68" fmla="*/ 109 w 684"/>
                <a:gd name="T69" fmla="*/ 69 h 240"/>
                <a:gd name="T70" fmla="*/ 75 w 684"/>
                <a:gd name="T71" fmla="*/ 76 h 240"/>
                <a:gd name="T72" fmla="*/ 55 w 684"/>
                <a:gd name="T73" fmla="*/ 78 h 240"/>
                <a:gd name="T74" fmla="*/ 40 w 684"/>
                <a:gd name="T75" fmla="*/ 78 h 240"/>
                <a:gd name="T76" fmla="*/ 32 w 684"/>
                <a:gd name="T77" fmla="*/ 75 h 240"/>
                <a:gd name="T78" fmla="*/ 22 w 684"/>
                <a:gd name="T79" fmla="*/ 68 h 240"/>
                <a:gd name="T80" fmla="*/ 9 w 684"/>
                <a:gd name="T81" fmla="*/ 65 h 240"/>
                <a:gd name="T82" fmla="*/ 0 w 684"/>
                <a:gd name="T83" fmla="*/ 57 h 240"/>
                <a:gd name="T84" fmla="*/ 21 w 684"/>
                <a:gd name="T85" fmla="*/ 52 h 240"/>
                <a:gd name="T86" fmla="*/ 32 w 684"/>
                <a:gd name="T87" fmla="*/ 51 h 240"/>
                <a:gd name="T88" fmla="*/ 50 w 684"/>
                <a:gd name="T89" fmla="*/ 53 h 240"/>
                <a:gd name="T90" fmla="*/ 65 w 684"/>
                <a:gd name="T91" fmla="*/ 54 h 240"/>
                <a:gd name="T92" fmla="*/ 72 w 684"/>
                <a:gd name="T93" fmla="*/ 53 h 240"/>
                <a:gd name="T94" fmla="*/ 8 w 684"/>
                <a:gd name="T95" fmla="*/ 45 h 240"/>
                <a:gd name="T96" fmla="*/ 17 w 684"/>
                <a:gd name="T97" fmla="*/ 42 h 240"/>
                <a:gd name="T98" fmla="*/ 35 w 684"/>
                <a:gd name="T99" fmla="*/ 39 h 240"/>
                <a:gd name="T100" fmla="*/ 53 w 684"/>
                <a:gd name="T101" fmla="*/ 36 h 240"/>
                <a:gd name="T102" fmla="*/ 60 w 684"/>
                <a:gd name="T103" fmla="*/ 33 h 240"/>
                <a:gd name="T104" fmla="*/ 54 w 684"/>
                <a:gd name="T105" fmla="*/ 31 h 240"/>
                <a:gd name="T106" fmla="*/ 40 w 684"/>
                <a:gd name="T107" fmla="*/ 32 h 240"/>
                <a:gd name="T108" fmla="*/ 23 w 684"/>
                <a:gd name="T109" fmla="*/ 36 h 240"/>
                <a:gd name="T110" fmla="*/ 17 w 684"/>
                <a:gd name="T111" fmla="*/ 35 h 240"/>
                <a:gd name="T112" fmla="*/ 18 w 684"/>
                <a:gd name="T113" fmla="*/ 30 h 240"/>
                <a:gd name="T114" fmla="*/ 17 w 684"/>
                <a:gd name="T115" fmla="*/ 27 h 240"/>
                <a:gd name="T116" fmla="*/ 19 w 684"/>
                <a:gd name="T117" fmla="*/ 26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7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59 w 332"/>
                <a:gd name="T1" fmla="*/ 12 h 287"/>
                <a:gd name="T2" fmla="*/ 66 w 332"/>
                <a:gd name="T3" fmla="*/ 8 h 287"/>
                <a:gd name="T4" fmla="*/ 74 w 332"/>
                <a:gd name="T5" fmla="*/ 2 h 287"/>
                <a:gd name="T6" fmla="*/ 78 w 332"/>
                <a:gd name="T7" fmla="*/ 0 h 287"/>
                <a:gd name="T8" fmla="*/ 80 w 332"/>
                <a:gd name="T9" fmla="*/ 0 h 287"/>
                <a:gd name="T10" fmla="*/ 80 w 332"/>
                <a:gd name="T11" fmla="*/ 4 h 287"/>
                <a:gd name="T12" fmla="*/ 76 w 332"/>
                <a:gd name="T13" fmla="*/ 11 h 287"/>
                <a:gd name="T14" fmla="*/ 71 w 332"/>
                <a:gd name="T15" fmla="*/ 18 h 287"/>
                <a:gd name="T16" fmla="*/ 66 w 332"/>
                <a:gd name="T17" fmla="*/ 22 h 287"/>
                <a:gd name="T18" fmla="*/ 62 w 332"/>
                <a:gd name="T19" fmla="*/ 23 h 287"/>
                <a:gd name="T20" fmla="*/ 62 w 332"/>
                <a:gd name="T21" fmla="*/ 24 h 287"/>
                <a:gd name="T22" fmla="*/ 65 w 332"/>
                <a:gd name="T23" fmla="*/ 24 h 287"/>
                <a:gd name="T24" fmla="*/ 70 w 332"/>
                <a:gd name="T25" fmla="*/ 23 h 287"/>
                <a:gd name="T26" fmla="*/ 73 w 332"/>
                <a:gd name="T27" fmla="*/ 25 h 287"/>
                <a:gd name="T28" fmla="*/ 71 w 332"/>
                <a:gd name="T29" fmla="*/ 29 h 287"/>
                <a:gd name="T30" fmla="*/ 70 w 332"/>
                <a:gd name="T31" fmla="*/ 31 h 287"/>
                <a:gd name="T32" fmla="*/ 71 w 332"/>
                <a:gd name="T33" fmla="*/ 34 h 287"/>
                <a:gd name="T34" fmla="*/ 81 w 332"/>
                <a:gd name="T35" fmla="*/ 37 h 287"/>
                <a:gd name="T36" fmla="*/ 100 w 332"/>
                <a:gd name="T37" fmla="*/ 40 h 287"/>
                <a:gd name="T38" fmla="*/ 105 w 332"/>
                <a:gd name="T39" fmla="*/ 42 h 287"/>
                <a:gd name="T40" fmla="*/ 102 w 332"/>
                <a:gd name="T41" fmla="*/ 45 h 287"/>
                <a:gd name="T42" fmla="*/ 99 w 332"/>
                <a:gd name="T43" fmla="*/ 48 h 287"/>
                <a:gd name="T44" fmla="*/ 97 w 332"/>
                <a:gd name="T45" fmla="*/ 50 h 287"/>
                <a:gd name="T46" fmla="*/ 98 w 332"/>
                <a:gd name="T47" fmla="*/ 52 h 287"/>
                <a:gd name="T48" fmla="*/ 100 w 332"/>
                <a:gd name="T49" fmla="*/ 54 h 287"/>
                <a:gd name="T50" fmla="*/ 104 w 332"/>
                <a:gd name="T51" fmla="*/ 57 h 287"/>
                <a:gd name="T52" fmla="*/ 107 w 332"/>
                <a:gd name="T53" fmla="*/ 60 h 287"/>
                <a:gd name="T54" fmla="*/ 94 w 332"/>
                <a:gd name="T55" fmla="*/ 68 h 287"/>
                <a:gd name="T56" fmla="*/ 78 w 332"/>
                <a:gd name="T57" fmla="*/ 78 h 287"/>
                <a:gd name="T58" fmla="*/ 67 w 332"/>
                <a:gd name="T59" fmla="*/ 87 h 287"/>
                <a:gd name="T60" fmla="*/ 56 w 332"/>
                <a:gd name="T61" fmla="*/ 79 h 287"/>
                <a:gd name="T62" fmla="*/ 59 w 332"/>
                <a:gd name="T63" fmla="*/ 79 h 287"/>
                <a:gd name="T64" fmla="*/ 61 w 332"/>
                <a:gd name="T65" fmla="*/ 78 h 287"/>
                <a:gd name="T66" fmla="*/ 65 w 332"/>
                <a:gd name="T67" fmla="*/ 75 h 287"/>
                <a:gd name="T68" fmla="*/ 48 w 332"/>
                <a:gd name="T69" fmla="*/ 75 h 287"/>
                <a:gd name="T70" fmla="*/ 33 w 332"/>
                <a:gd name="T71" fmla="*/ 75 h 287"/>
                <a:gd name="T72" fmla="*/ 19 w 332"/>
                <a:gd name="T73" fmla="*/ 75 h 287"/>
                <a:gd name="T74" fmla="*/ 9 w 332"/>
                <a:gd name="T75" fmla="*/ 75 h 287"/>
                <a:gd name="T76" fmla="*/ 4 w 332"/>
                <a:gd name="T77" fmla="*/ 74 h 287"/>
                <a:gd name="T78" fmla="*/ 1 w 332"/>
                <a:gd name="T79" fmla="*/ 72 h 287"/>
                <a:gd name="T80" fmla="*/ 0 w 332"/>
                <a:gd name="T81" fmla="*/ 69 h 287"/>
                <a:gd name="T82" fmla="*/ 1 w 332"/>
                <a:gd name="T83" fmla="*/ 66 h 287"/>
                <a:gd name="T84" fmla="*/ 4 w 332"/>
                <a:gd name="T85" fmla="*/ 64 h 287"/>
                <a:gd name="T86" fmla="*/ 13 w 332"/>
                <a:gd name="T87" fmla="*/ 58 h 287"/>
                <a:gd name="T88" fmla="*/ 24 w 332"/>
                <a:gd name="T89" fmla="*/ 52 h 287"/>
                <a:gd name="T90" fmla="*/ 28 w 332"/>
                <a:gd name="T91" fmla="*/ 49 h 287"/>
                <a:gd name="T92" fmla="*/ 30 w 332"/>
                <a:gd name="T93" fmla="*/ 47 h 287"/>
                <a:gd name="T94" fmla="*/ 34 w 332"/>
                <a:gd name="T95" fmla="*/ 42 h 287"/>
                <a:gd name="T96" fmla="*/ 38 w 332"/>
                <a:gd name="T97" fmla="*/ 37 h 287"/>
                <a:gd name="T98" fmla="*/ 42 w 332"/>
                <a:gd name="T99" fmla="*/ 26 h 287"/>
                <a:gd name="T100" fmla="*/ 45 w 332"/>
                <a:gd name="T101" fmla="*/ 21 h 287"/>
                <a:gd name="T102" fmla="*/ 48 w 332"/>
                <a:gd name="T103" fmla="*/ 17 h 287"/>
                <a:gd name="T104" fmla="*/ 51 w 332"/>
                <a:gd name="T105" fmla="*/ 14 h 287"/>
                <a:gd name="T106" fmla="*/ 56 w 332"/>
                <a:gd name="T107" fmla="*/ 13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8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34 w 345"/>
                <a:gd name="T1" fmla="*/ 27 h 86"/>
                <a:gd name="T2" fmla="*/ 38 w 345"/>
                <a:gd name="T3" fmla="*/ 25 h 86"/>
                <a:gd name="T4" fmla="*/ 43 w 345"/>
                <a:gd name="T5" fmla="*/ 24 h 86"/>
                <a:gd name="T6" fmla="*/ 48 w 345"/>
                <a:gd name="T7" fmla="*/ 23 h 86"/>
                <a:gd name="T8" fmla="*/ 53 w 345"/>
                <a:gd name="T9" fmla="*/ 22 h 86"/>
                <a:gd name="T10" fmla="*/ 63 w 345"/>
                <a:gd name="T11" fmla="*/ 20 h 86"/>
                <a:gd name="T12" fmla="*/ 74 w 345"/>
                <a:gd name="T13" fmla="*/ 18 h 86"/>
                <a:gd name="T14" fmla="*/ 79 w 345"/>
                <a:gd name="T15" fmla="*/ 17 h 86"/>
                <a:gd name="T16" fmla="*/ 85 w 345"/>
                <a:gd name="T17" fmla="*/ 16 h 86"/>
                <a:gd name="T18" fmla="*/ 90 w 345"/>
                <a:gd name="T19" fmla="*/ 14 h 86"/>
                <a:gd name="T20" fmla="*/ 95 w 345"/>
                <a:gd name="T21" fmla="*/ 13 h 86"/>
                <a:gd name="T22" fmla="*/ 99 w 345"/>
                <a:gd name="T23" fmla="*/ 11 h 86"/>
                <a:gd name="T24" fmla="*/ 104 w 345"/>
                <a:gd name="T25" fmla="*/ 9 h 86"/>
                <a:gd name="T26" fmla="*/ 107 w 345"/>
                <a:gd name="T27" fmla="*/ 7 h 86"/>
                <a:gd name="T28" fmla="*/ 111 w 345"/>
                <a:gd name="T29" fmla="*/ 4 h 86"/>
                <a:gd name="T30" fmla="*/ 108 w 345"/>
                <a:gd name="T31" fmla="*/ 4 h 86"/>
                <a:gd name="T32" fmla="*/ 105 w 345"/>
                <a:gd name="T33" fmla="*/ 3 h 86"/>
                <a:gd name="T34" fmla="*/ 102 w 345"/>
                <a:gd name="T35" fmla="*/ 3 h 86"/>
                <a:gd name="T36" fmla="*/ 99 w 345"/>
                <a:gd name="T37" fmla="*/ 2 h 86"/>
                <a:gd name="T38" fmla="*/ 97 w 345"/>
                <a:gd name="T39" fmla="*/ 1 h 86"/>
                <a:gd name="T40" fmla="*/ 94 w 345"/>
                <a:gd name="T41" fmla="*/ 1 h 86"/>
                <a:gd name="T42" fmla="*/ 90 w 345"/>
                <a:gd name="T43" fmla="*/ 0 h 86"/>
                <a:gd name="T44" fmla="*/ 88 w 345"/>
                <a:gd name="T45" fmla="*/ 0 h 86"/>
                <a:gd name="T46" fmla="*/ 83 w 345"/>
                <a:gd name="T47" fmla="*/ 0 h 86"/>
                <a:gd name="T48" fmla="*/ 79 w 345"/>
                <a:gd name="T49" fmla="*/ 1 h 86"/>
                <a:gd name="T50" fmla="*/ 73 w 345"/>
                <a:gd name="T51" fmla="*/ 2 h 86"/>
                <a:gd name="T52" fmla="*/ 67 w 345"/>
                <a:gd name="T53" fmla="*/ 3 h 86"/>
                <a:gd name="T54" fmla="*/ 54 w 345"/>
                <a:gd name="T55" fmla="*/ 6 h 86"/>
                <a:gd name="T56" fmla="*/ 41 w 345"/>
                <a:gd name="T57" fmla="*/ 9 h 86"/>
                <a:gd name="T58" fmla="*/ 33 w 345"/>
                <a:gd name="T59" fmla="*/ 11 h 86"/>
                <a:gd name="T60" fmla="*/ 27 w 345"/>
                <a:gd name="T61" fmla="*/ 13 h 86"/>
                <a:gd name="T62" fmla="*/ 21 w 345"/>
                <a:gd name="T63" fmla="*/ 16 h 86"/>
                <a:gd name="T64" fmla="*/ 15 w 345"/>
                <a:gd name="T65" fmla="*/ 18 h 86"/>
                <a:gd name="T66" fmla="*/ 10 w 345"/>
                <a:gd name="T67" fmla="*/ 20 h 86"/>
                <a:gd name="T68" fmla="*/ 6 w 345"/>
                <a:gd name="T69" fmla="*/ 23 h 86"/>
                <a:gd name="T70" fmla="*/ 3 w 345"/>
                <a:gd name="T71" fmla="*/ 25 h 86"/>
                <a:gd name="T72" fmla="*/ 0 w 345"/>
                <a:gd name="T73" fmla="*/ 27 h 86"/>
                <a:gd name="T74" fmla="*/ 34 w 345"/>
                <a:gd name="T75" fmla="*/ 27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9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6 w 464"/>
                <a:gd name="T1" fmla="*/ 28 h 130"/>
                <a:gd name="T2" fmla="*/ 25 w 464"/>
                <a:gd name="T3" fmla="*/ 27 h 130"/>
                <a:gd name="T4" fmla="*/ 33 w 464"/>
                <a:gd name="T5" fmla="*/ 27 h 130"/>
                <a:gd name="T6" fmla="*/ 30 w 464"/>
                <a:gd name="T7" fmla="*/ 29 h 130"/>
                <a:gd name="T8" fmla="*/ 26 w 464"/>
                <a:gd name="T9" fmla="*/ 33 h 130"/>
                <a:gd name="T10" fmla="*/ 23 w 464"/>
                <a:gd name="T11" fmla="*/ 37 h 130"/>
                <a:gd name="T12" fmla="*/ 23 w 464"/>
                <a:gd name="T13" fmla="*/ 39 h 130"/>
                <a:gd name="T14" fmla="*/ 25 w 464"/>
                <a:gd name="T15" fmla="*/ 41 h 130"/>
                <a:gd name="T16" fmla="*/ 30 w 464"/>
                <a:gd name="T17" fmla="*/ 43 h 130"/>
                <a:gd name="T18" fmla="*/ 35 w 464"/>
                <a:gd name="T19" fmla="*/ 43 h 130"/>
                <a:gd name="T20" fmla="*/ 41 w 464"/>
                <a:gd name="T21" fmla="*/ 42 h 130"/>
                <a:gd name="T22" fmla="*/ 50 w 464"/>
                <a:gd name="T23" fmla="*/ 39 h 130"/>
                <a:gd name="T24" fmla="*/ 63 w 464"/>
                <a:gd name="T25" fmla="*/ 36 h 130"/>
                <a:gd name="T26" fmla="*/ 73 w 464"/>
                <a:gd name="T27" fmla="*/ 33 h 130"/>
                <a:gd name="T28" fmla="*/ 80 w 464"/>
                <a:gd name="T29" fmla="*/ 33 h 130"/>
                <a:gd name="T30" fmla="*/ 85 w 464"/>
                <a:gd name="T31" fmla="*/ 33 h 130"/>
                <a:gd name="T32" fmla="*/ 98 w 464"/>
                <a:gd name="T33" fmla="*/ 33 h 130"/>
                <a:gd name="T34" fmla="*/ 107 w 464"/>
                <a:gd name="T35" fmla="*/ 32 h 130"/>
                <a:gd name="T36" fmla="*/ 121 w 464"/>
                <a:gd name="T37" fmla="*/ 31 h 130"/>
                <a:gd name="T38" fmla="*/ 133 w 464"/>
                <a:gd name="T39" fmla="*/ 27 h 130"/>
                <a:gd name="T40" fmla="*/ 144 w 464"/>
                <a:gd name="T41" fmla="*/ 22 h 130"/>
                <a:gd name="T42" fmla="*/ 146 w 464"/>
                <a:gd name="T43" fmla="*/ 17 h 130"/>
                <a:gd name="T44" fmla="*/ 141 w 464"/>
                <a:gd name="T45" fmla="*/ 16 h 130"/>
                <a:gd name="T46" fmla="*/ 133 w 464"/>
                <a:gd name="T47" fmla="*/ 16 h 130"/>
                <a:gd name="T48" fmla="*/ 127 w 464"/>
                <a:gd name="T49" fmla="*/ 15 h 130"/>
                <a:gd name="T50" fmla="*/ 130 w 464"/>
                <a:gd name="T51" fmla="*/ 12 h 130"/>
                <a:gd name="T52" fmla="*/ 133 w 464"/>
                <a:gd name="T53" fmla="*/ 7 h 130"/>
                <a:gd name="T54" fmla="*/ 134 w 464"/>
                <a:gd name="T55" fmla="*/ 2 h 130"/>
                <a:gd name="T56" fmla="*/ 121 w 464"/>
                <a:gd name="T57" fmla="*/ 0 h 130"/>
                <a:gd name="T58" fmla="*/ 116 w 464"/>
                <a:gd name="T59" fmla="*/ 6 h 130"/>
                <a:gd name="T60" fmla="*/ 110 w 464"/>
                <a:gd name="T61" fmla="*/ 14 h 130"/>
                <a:gd name="T62" fmla="*/ 104 w 464"/>
                <a:gd name="T63" fmla="*/ 20 h 130"/>
                <a:gd name="T64" fmla="*/ 100 w 464"/>
                <a:gd name="T65" fmla="*/ 22 h 130"/>
                <a:gd name="T66" fmla="*/ 96 w 464"/>
                <a:gd name="T67" fmla="*/ 22 h 130"/>
                <a:gd name="T68" fmla="*/ 89 w 464"/>
                <a:gd name="T69" fmla="*/ 22 h 130"/>
                <a:gd name="T70" fmla="*/ 84 w 464"/>
                <a:gd name="T71" fmla="*/ 21 h 130"/>
                <a:gd name="T72" fmla="*/ 77 w 464"/>
                <a:gd name="T73" fmla="*/ 18 h 130"/>
                <a:gd name="T74" fmla="*/ 66 w 464"/>
                <a:gd name="T75" fmla="*/ 10 h 130"/>
                <a:gd name="T76" fmla="*/ 58 w 464"/>
                <a:gd name="T77" fmla="*/ 10 h 130"/>
                <a:gd name="T78" fmla="*/ 48 w 464"/>
                <a:gd name="T79" fmla="*/ 10 h 130"/>
                <a:gd name="T80" fmla="*/ 38 w 464"/>
                <a:gd name="T81" fmla="*/ 12 h 130"/>
                <a:gd name="T82" fmla="*/ 27 w 464"/>
                <a:gd name="T83" fmla="*/ 15 h 130"/>
                <a:gd name="T84" fmla="*/ 17 w 464"/>
                <a:gd name="T85" fmla="*/ 18 h 130"/>
                <a:gd name="T86" fmla="*/ 9 w 464"/>
                <a:gd name="T87" fmla="*/ 22 h 130"/>
                <a:gd name="T88" fmla="*/ 3 w 464"/>
                <a:gd name="T89" fmla="*/ 25 h 130"/>
                <a:gd name="T90" fmla="*/ 0 w 464"/>
                <a:gd name="T91" fmla="*/ 28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0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20 w 472"/>
                <a:gd name="T1" fmla="*/ 0 h 92"/>
                <a:gd name="T2" fmla="*/ 14 w 472"/>
                <a:gd name="T3" fmla="*/ 0 h 92"/>
                <a:gd name="T4" fmla="*/ 8 w 472"/>
                <a:gd name="T5" fmla="*/ 0 h 92"/>
                <a:gd name="T6" fmla="*/ 4 w 472"/>
                <a:gd name="T7" fmla="*/ 1 h 92"/>
                <a:gd name="T8" fmla="*/ 2 w 472"/>
                <a:gd name="T9" fmla="*/ 3 h 92"/>
                <a:gd name="T10" fmla="*/ 2 w 472"/>
                <a:gd name="T11" fmla="*/ 5 h 92"/>
                <a:gd name="T12" fmla="*/ 3 w 472"/>
                <a:gd name="T13" fmla="*/ 8 h 92"/>
                <a:gd name="T14" fmla="*/ 5 w 472"/>
                <a:gd name="T15" fmla="*/ 11 h 92"/>
                <a:gd name="T16" fmla="*/ 5 w 472"/>
                <a:gd name="T17" fmla="*/ 14 h 92"/>
                <a:gd name="T18" fmla="*/ 1 w 472"/>
                <a:gd name="T19" fmla="*/ 17 h 92"/>
                <a:gd name="T20" fmla="*/ 0 w 472"/>
                <a:gd name="T21" fmla="*/ 19 h 92"/>
                <a:gd name="T22" fmla="*/ 1 w 472"/>
                <a:gd name="T23" fmla="*/ 22 h 92"/>
                <a:gd name="T24" fmla="*/ 5 w 472"/>
                <a:gd name="T25" fmla="*/ 23 h 92"/>
                <a:gd name="T26" fmla="*/ 16 w 472"/>
                <a:gd name="T27" fmla="*/ 26 h 92"/>
                <a:gd name="T28" fmla="*/ 35 w 472"/>
                <a:gd name="T29" fmla="*/ 29 h 92"/>
                <a:gd name="T30" fmla="*/ 54 w 472"/>
                <a:gd name="T31" fmla="*/ 31 h 92"/>
                <a:gd name="T32" fmla="*/ 118 w 472"/>
                <a:gd name="T33" fmla="*/ 31 h 92"/>
                <a:gd name="T34" fmla="*/ 121 w 472"/>
                <a:gd name="T35" fmla="*/ 27 h 92"/>
                <a:gd name="T36" fmla="*/ 125 w 472"/>
                <a:gd name="T37" fmla="*/ 25 h 92"/>
                <a:gd name="T38" fmla="*/ 129 w 472"/>
                <a:gd name="T39" fmla="*/ 25 h 92"/>
                <a:gd name="T40" fmla="*/ 133 w 472"/>
                <a:gd name="T41" fmla="*/ 25 h 92"/>
                <a:gd name="T42" fmla="*/ 143 w 472"/>
                <a:gd name="T43" fmla="*/ 26 h 92"/>
                <a:gd name="T44" fmla="*/ 148 w 472"/>
                <a:gd name="T45" fmla="*/ 26 h 92"/>
                <a:gd name="T46" fmla="*/ 153 w 472"/>
                <a:gd name="T47" fmla="*/ 25 h 92"/>
                <a:gd name="T48" fmla="*/ 151 w 472"/>
                <a:gd name="T49" fmla="*/ 11 h 92"/>
                <a:gd name="T50" fmla="*/ 147 w 472"/>
                <a:gd name="T51" fmla="*/ 9 h 92"/>
                <a:gd name="T52" fmla="*/ 144 w 472"/>
                <a:gd name="T53" fmla="*/ 6 h 92"/>
                <a:gd name="T54" fmla="*/ 140 w 472"/>
                <a:gd name="T55" fmla="*/ 4 h 92"/>
                <a:gd name="T56" fmla="*/ 135 w 472"/>
                <a:gd name="T57" fmla="*/ 4 h 92"/>
                <a:gd name="T58" fmla="*/ 128 w 472"/>
                <a:gd name="T59" fmla="*/ 5 h 92"/>
                <a:gd name="T60" fmla="*/ 119 w 472"/>
                <a:gd name="T61" fmla="*/ 7 h 92"/>
                <a:gd name="T62" fmla="*/ 106 w 472"/>
                <a:gd name="T63" fmla="*/ 11 h 92"/>
                <a:gd name="T64" fmla="*/ 97 w 472"/>
                <a:gd name="T65" fmla="*/ 13 h 92"/>
                <a:gd name="T66" fmla="*/ 89 w 472"/>
                <a:gd name="T67" fmla="*/ 14 h 92"/>
                <a:gd name="T68" fmla="*/ 77 w 472"/>
                <a:gd name="T69" fmla="*/ 14 h 92"/>
                <a:gd name="T70" fmla="*/ 62 w 472"/>
                <a:gd name="T71" fmla="*/ 14 h 92"/>
                <a:gd name="T72" fmla="*/ 51 w 472"/>
                <a:gd name="T73" fmla="*/ 14 h 92"/>
                <a:gd name="T74" fmla="*/ 39 w 472"/>
                <a:gd name="T75" fmla="*/ 14 h 92"/>
                <a:gd name="T76" fmla="*/ 29 w 472"/>
                <a:gd name="T77" fmla="*/ 14 h 92"/>
                <a:gd name="T78" fmla="*/ 25 w 472"/>
                <a:gd name="T79" fmla="*/ 12 h 92"/>
                <a:gd name="T80" fmla="*/ 23 w 472"/>
                <a:gd name="T81" fmla="*/ 9 h 92"/>
                <a:gd name="T82" fmla="*/ 22 w 472"/>
                <a:gd name="T83" fmla="*/ 6 h 92"/>
                <a:gd name="T84" fmla="*/ 22 w 472"/>
                <a:gd name="T85" fmla="*/ 3 h 92"/>
                <a:gd name="T86" fmla="*/ 24 w 472"/>
                <a:gd name="T87" fmla="*/ 1 h 92"/>
                <a:gd name="T88" fmla="*/ 24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1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47 w 326"/>
                <a:gd name="T1" fmla="*/ 36 h 135"/>
                <a:gd name="T2" fmla="*/ 66 w 326"/>
                <a:gd name="T3" fmla="*/ 32 h 135"/>
                <a:gd name="T4" fmla="*/ 85 w 326"/>
                <a:gd name="T5" fmla="*/ 28 h 135"/>
                <a:gd name="T6" fmla="*/ 98 w 326"/>
                <a:gd name="T7" fmla="*/ 25 h 135"/>
                <a:gd name="T8" fmla="*/ 103 w 326"/>
                <a:gd name="T9" fmla="*/ 22 h 135"/>
                <a:gd name="T10" fmla="*/ 105 w 326"/>
                <a:gd name="T11" fmla="*/ 19 h 135"/>
                <a:gd name="T12" fmla="*/ 101 w 326"/>
                <a:gd name="T13" fmla="*/ 16 h 135"/>
                <a:gd name="T14" fmla="*/ 98 w 326"/>
                <a:gd name="T15" fmla="*/ 14 h 135"/>
                <a:gd name="T16" fmla="*/ 93 w 326"/>
                <a:gd name="T17" fmla="*/ 12 h 135"/>
                <a:gd name="T18" fmla="*/ 86 w 326"/>
                <a:gd name="T19" fmla="*/ 11 h 135"/>
                <a:gd name="T20" fmla="*/ 75 w 326"/>
                <a:gd name="T21" fmla="*/ 10 h 135"/>
                <a:gd name="T22" fmla="*/ 68 w 326"/>
                <a:gd name="T23" fmla="*/ 10 h 135"/>
                <a:gd name="T24" fmla="*/ 66 w 326"/>
                <a:gd name="T25" fmla="*/ 8 h 135"/>
                <a:gd name="T26" fmla="*/ 64 w 326"/>
                <a:gd name="T27" fmla="*/ 6 h 135"/>
                <a:gd name="T28" fmla="*/ 62 w 326"/>
                <a:gd name="T29" fmla="*/ 3 h 135"/>
                <a:gd name="T30" fmla="*/ 59 w 326"/>
                <a:gd name="T31" fmla="*/ 2 h 135"/>
                <a:gd name="T32" fmla="*/ 53 w 326"/>
                <a:gd name="T33" fmla="*/ 0 h 135"/>
                <a:gd name="T34" fmla="*/ 44 w 326"/>
                <a:gd name="T35" fmla="*/ 0 h 135"/>
                <a:gd name="T36" fmla="*/ 28 w 326"/>
                <a:gd name="T37" fmla="*/ 3 h 135"/>
                <a:gd name="T38" fmla="*/ 16 w 326"/>
                <a:gd name="T39" fmla="*/ 6 h 135"/>
                <a:gd name="T40" fmla="*/ 9 w 326"/>
                <a:gd name="T41" fmla="*/ 9 h 135"/>
                <a:gd name="T42" fmla="*/ 4 w 326"/>
                <a:gd name="T43" fmla="*/ 12 h 135"/>
                <a:gd name="T44" fmla="*/ 1 w 326"/>
                <a:gd name="T45" fmla="*/ 15 h 135"/>
                <a:gd name="T46" fmla="*/ 0 w 326"/>
                <a:gd name="T47" fmla="*/ 17 h 135"/>
                <a:gd name="T48" fmla="*/ 11 w 326"/>
                <a:gd name="T49" fmla="*/ 25 h 135"/>
                <a:gd name="T50" fmla="*/ 18 w 326"/>
                <a:gd name="T51" fmla="*/ 27 h 135"/>
                <a:gd name="T52" fmla="*/ 13 w 326"/>
                <a:gd name="T53" fmla="*/ 30 h 135"/>
                <a:gd name="T54" fmla="*/ 12 w 326"/>
                <a:gd name="T55" fmla="*/ 33 h 135"/>
                <a:gd name="T56" fmla="*/ 14 w 326"/>
                <a:gd name="T57" fmla="*/ 38 h 135"/>
                <a:gd name="T58" fmla="*/ 16 w 326"/>
                <a:gd name="T59" fmla="*/ 43 h 135"/>
                <a:gd name="T60" fmla="*/ 18 w 326"/>
                <a:gd name="T61" fmla="*/ 45 h 135"/>
                <a:gd name="T62" fmla="*/ 22 w 326"/>
                <a:gd name="T63" fmla="*/ 45 h 135"/>
                <a:gd name="T64" fmla="*/ 28 w 326"/>
                <a:gd name="T65" fmla="*/ 44 h 135"/>
                <a:gd name="T66" fmla="*/ 33 w 326"/>
                <a:gd name="T67" fmla="*/ 42 h 135"/>
                <a:gd name="T68" fmla="*/ 38 w 326"/>
                <a:gd name="T69" fmla="*/ 41 h 135"/>
                <a:gd name="T70" fmla="*/ 39 w 326"/>
                <a:gd name="T71" fmla="*/ 37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2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15 w 159"/>
                <a:gd name="T1" fmla="*/ 17 h 56"/>
                <a:gd name="T2" fmla="*/ 13 w 159"/>
                <a:gd name="T3" fmla="*/ 17 h 56"/>
                <a:gd name="T4" fmla="*/ 11 w 159"/>
                <a:gd name="T5" fmla="*/ 16 h 56"/>
                <a:gd name="T6" fmla="*/ 8 w 159"/>
                <a:gd name="T7" fmla="*/ 14 h 56"/>
                <a:gd name="T8" fmla="*/ 6 w 159"/>
                <a:gd name="T9" fmla="*/ 12 h 56"/>
                <a:gd name="T10" fmla="*/ 3 w 159"/>
                <a:gd name="T11" fmla="*/ 10 h 56"/>
                <a:gd name="T12" fmla="*/ 2 w 159"/>
                <a:gd name="T13" fmla="*/ 8 h 56"/>
                <a:gd name="T14" fmla="*/ 1 w 159"/>
                <a:gd name="T15" fmla="*/ 7 h 56"/>
                <a:gd name="T16" fmla="*/ 0 w 159"/>
                <a:gd name="T17" fmla="*/ 5 h 56"/>
                <a:gd name="T18" fmla="*/ 0 w 159"/>
                <a:gd name="T19" fmla="*/ 4 h 56"/>
                <a:gd name="T20" fmla="*/ 0 w 159"/>
                <a:gd name="T21" fmla="*/ 3 h 56"/>
                <a:gd name="T22" fmla="*/ 7 w 159"/>
                <a:gd name="T23" fmla="*/ 3 h 56"/>
                <a:gd name="T24" fmla="*/ 13 w 159"/>
                <a:gd name="T25" fmla="*/ 3 h 56"/>
                <a:gd name="T26" fmla="*/ 17 w 159"/>
                <a:gd name="T27" fmla="*/ 3 h 56"/>
                <a:gd name="T28" fmla="*/ 19 w 159"/>
                <a:gd name="T29" fmla="*/ 3 h 56"/>
                <a:gd name="T30" fmla="*/ 27 w 159"/>
                <a:gd name="T31" fmla="*/ 2 h 56"/>
                <a:gd name="T32" fmla="*/ 38 w 159"/>
                <a:gd name="T33" fmla="*/ 0 h 56"/>
                <a:gd name="T34" fmla="*/ 40 w 159"/>
                <a:gd name="T35" fmla="*/ 0 h 56"/>
                <a:gd name="T36" fmla="*/ 42 w 159"/>
                <a:gd name="T37" fmla="*/ 0 h 56"/>
                <a:gd name="T38" fmla="*/ 45 w 159"/>
                <a:gd name="T39" fmla="*/ 0 h 56"/>
                <a:gd name="T40" fmla="*/ 47 w 159"/>
                <a:gd name="T41" fmla="*/ 1 h 56"/>
                <a:gd name="T42" fmla="*/ 48 w 159"/>
                <a:gd name="T43" fmla="*/ 2 h 56"/>
                <a:gd name="T44" fmla="*/ 50 w 159"/>
                <a:gd name="T45" fmla="*/ 3 h 56"/>
                <a:gd name="T46" fmla="*/ 51 w 159"/>
                <a:gd name="T47" fmla="*/ 5 h 56"/>
                <a:gd name="T48" fmla="*/ 51 w 159"/>
                <a:gd name="T49" fmla="*/ 7 h 56"/>
                <a:gd name="T50" fmla="*/ 51 w 159"/>
                <a:gd name="T51" fmla="*/ 10 h 56"/>
                <a:gd name="T52" fmla="*/ 50 w 159"/>
                <a:gd name="T53" fmla="*/ 12 h 56"/>
                <a:gd name="T54" fmla="*/ 48 w 159"/>
                <a:gd name="T55" fmla="*/ 14 h 56"/>
                <a:gd name="T56" fmla="*/ 47 w 159"/>
                <a:gd name="T57" fmla="*/ 15 h 56"/>
                <a:gd name="T58" fmla="*/ 45 w 159"/>
                <a:gd name="T59" fmla="*/ 17 h 56"/>
                <a:gd name="T60" fmla="*/ 42 w 159"/>
                <a:gd name="T61" fmla="*/ 17 h 56"/>
                <a:gd name="T62" fmla="*/ 40 w 159"/>
                <a:gd name="T63" fmla="*/ 18 h 56"/>
                <a:gd name="T64" fmla="*/ 37 w 159"/>
                <a:gd name="T65" fmla="*/ 18 h 56"/>
                <a:gd name="T66" fmla="*/ 25 w 159"/>
                <a:gd name="T67" fmla="*/ 18 h 56"/>
                <a:gd name="T68" fmla="*/ 15 w 159"/>
                <a:gd name="T69" fmla="*/ 1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3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946 w 3734"/>
                <a:gd name="T1" fmla="*/ 447 h 1644"/>
                <a:gd name="T2" fmla="*/ 825 w 3734"/>
                <a:gd name="T3" fmla="*/ 499 h 1644"/>
                <a:gd name="T4" fmla="*/ 746 w 3734"/>
                <a:gd name="T5" fmla="*/ 522 h 1644"/>
                <a:gd name="T6" fmla="*/ 740 w 3734"/>
                <a:gd name="T7" fmla="*/ 536 h 1644"/>
                <a:gd name="T8" fmla="*/ 703 w 3734"/>
                <a:gd name="T9" fmla="*/ 527 h 1644"/>
                <a:gd name="T10" fmla="*/ 735 w 3734"/>
                <a:gd name="T11" fmla="*/ 496 h 1644"/>
                <a:gd name="T12" fmla="*/ 699 w 3734"/>
                <a:gd name="T13" fmla="*/ 464 h 1644"/>
                <a:gd name="T14" fmla="*/ 676 w 3734"/>
                <a:gd name="T15" fmla="*/ 425 h 1644"/>
                <a:gd name="T16" fmla="*/ 628 w 3734"/>
                <a:gd name="T17" fmla="*/ 432 h 1644"/>
                <a:gd name="T18" fmla="*/ 572 w 3734"/>
                <a:gd name="T19" fmla="*/ 420 h 1644"/>
                <a:gd name="T20" fmla="*/ 84 w 3734"/>
                <a:gd name="T21" fmla="*/ 405 h 1644"/>
                <a:gd name="T22" fmla="*/ 41 w 3734"/>
                <a:gd name="T23" fmla="*/ 369 h 1644"/>
                <a:gd name="T24" fmla="*/ 49 w 3734"/>
                <a:gd name="T25" fmla="*/ 341 h 1644"/>
                <a:gd name="T26" fmla="*/ 47 w 3734"/>
                <a:gd name="T27" fmla="*/ 304 h 1644"/>
                <a:gd name="T28" fmla="*/ 84 w 3734"/>
                <a:gd name="T29" fmla="*/ 282 h 1644"/>
                <a:gd name="T30" fmla="*/ 81 w 3734"/>
                <a:gd name="T31" fmla="*/ 245 h 1644"/>
                <a:gd name="T32" fmla="*/ 41 w 3734"/>
                <a:gd name="T33" fmla="*/ 218 h 1644"/>
                <a:gd name="T34" fmla="*/ 194 w 3734"/>
                <a:gd name="T35" fmla="*/ 37 h 1644"/>
                <a:gd name="T36" fmla="*/ 370 w 3734"/>
                <a:gd name="T37" fmla="*/ 34 h 1644"/>
                <a:gd name="T38" fmla="*/ 418 w 3734"/>
                <a:gd name="T39" fmla="*/ 38 h 1644"/>
                <a:gd name="T40" fmla="*/ 530 w 3734"/>
                <a:gd name="T41" fmla="*/ 54 h 1644"/>
                <a:gd name="T42" fmla="*/ 572 w 3734"/>
                <a:gd name="T43" fmla="*/ 68 h 1644"/>
                <a:gd name="T44" fmla="*/ 670 w 3734"/>
                <a:gd name="T45" fmla="*/ 63 h 1644"/>
                <a:gd name="T46" fmla="*/ 738 w 3734"/>
                <a:gd name="T47" fmla="*/ 71 h 1644"/>
                <a:gd name="T48" fmla="*/ 763 w 3734"/>
                <a:gd name="T49" fmla="*/ 71 h 1644"/>
                <a:gd name="T50" fmla="*/ 813 w 3734"/>
                <a:gd name="T51" fmla="*/ 40 h 1644"/>
                <a:gd name="T52" fmla="*/ 835 w 3734"/>
                <a:gd name="T53" fmla="*/ 1 h 1644"/>
                <a:gd name="T54" fmla="*/ 853 w 3734"/>
                <a:gd name="T55" fmla="*/ 34 h 1644"/>
                <a:gd name="T56" fmla="*/ 860 w 3734"/>
                <a:gd name="T57" fmla="*/ 54 h 1644"/>
                <a:gd name="T58" fmla="*/ 876 w 3734"/>
                <a:gd name="T59" fmla="*/ 64 h 1644"/>
                <a:gd name="T60" fmla="*/ 933 w 3734"/>
                <a:gd name="T61" fmla="*/ 40 h 1644"/>
                <a:gd name="T62" fmla="*/ 980 w 3734"/>
                <a:gd name="T63" fmla="*/ 44 h 1644"/>
                <a:gd name="T64" fmla="*/ 930 w 3734"/>
                <a:gd name="T65" fmla="*/ 89 h 1644"/>
                <a:gd name="T66" fmla="*/ 900 w 3734"/>
                <a:gd name="T67" fmla="*/ 95 h 1644"/>
                <a:gd name="T68" fmla="*/ 829 w 3734"/>
                <a:gd name="T69" fmla="*/ 100 h 1644"/>
                <a:gd name="T70" fmla="*/ 807 w 3734"/>
                <a:gd name="T71" fmla="*/ 132 h 1644"/>
                <a:gd name="T72" fmla="*/ 753 w 3734"/>
                <a:gd name="T73" fmla="*/ 154 h 1644"/>
                <a:gd name="T74" fmla="*/ 673 w 3734"/>
                <a:gd name="T75" fmla="*/ 205 h 1644"/>
                <a:gd name="T76" fmla="*/ 680 w 3734"/>
                <a:gd name="T77" fmla="*/ 260 h 1644"/>
                <a:gd name="T78" fmla="*/ 762 w 3734"/>
                <a:gd name="T79" fmla="*/ 297 h 1644"/>
                <a:gd name="T80" fmla="*/ 788 w 3734"/>
                <a:gd name="T81" fmla="*/ 347 h 1644"/>
                <a:gd name="T82" fmla="*/ 844 w 3734"/>
                <a:gd name="T83" fmla="*/ 324 h 1644"/>
                <a:gd name="T84" fmla="*/ 919 w 3734"/>
                <a:gd name="T85" fmla="*/ 257 h 1644"/>
                <a:gd name="T86" fmla="*/ 935 w 3734"/>
                <a:gd name="T87" fmla="*/ 196 h 1644"/>
                <a:gd name="T88" fmla="*/ 1018 w 3734"/>
                <a:gd name="T89" fmla="*/ 164 h 1644"/>
                <a:gd name="T90" fmla="*/ 1057 w 3734"/>
                <a:gd name="T91" fmla="*/ 194 h 1644"/>
                <a:gd name="T92" fmla="*/ 1041 w 3734"/>
                <a:gd name="T93" fmla="*/ 241 h 1644"/>
                <a:gd name="T94" fmla="*/ 1127 w 3734"/>
                <a:gd name="T95" fmla="*/ 201 h 1644"/>
                <a:gd name="T96" fmla="*/ 1144 w 3734"/>
                <a:gd name="T97" fmla="*/ 254 h 1644"/>
                <a:gd name="T98" fmla="*/ 1182 w 3734"/>
                <a:gd name="T99" fmla="*/ 303 h 1644"/>
                <a:gd name="T100" fmla="*/ 1167 w 3734"/>
                <a:gd name="T101" fmla="*/ 315 h 1644"/>
                <a:gd name="T102" fmla="*/ 1192 w 3734"/>
                <a:gd name="T103" fmla="*/ 337 h 1644"/>
                <a:gd name="T104" fmla="*/ 1148 w 3734"/>
                <a:gd name="T105" fmla="*/ 363 h 1644"/>
                <a:gd name="T106" fmla="*/ 1017 w 3734"/>
                <a:gd name="T107" fmla="*/ 383 h 1644"/>
                <a:gd name="T108" fmla="*/ 921 w 3734"/>
                <a:gd name="T109" fmla="*/ 438 h 1644"/>
                <a:gd name="T110" fmla="*/ 937 w 3734"/>
                <a:gd name="T111" fmla="*/ 438 h 1644"/>
                <a:gd name="T112" fmla="*/ 1038 w 3734"/>
                <a:gd name="T113" fmla="*/ 412 h 1644"/>
                <a:gd name="T114" fmla="*/ 989 w 3734"/>
                <a:gd name="T115" fmla="*/ 426 h 1644"/>
                <a:gd name="T116" fmla="*/ 1013 w 3734"/>
                <a:gd name="T117" fmla="*/ 456 h 1644"/>
                <a:gd name="T118" fmla="*/ 1048 w 3734"/>
                <a:gd name="T119" fmla="*/ 483 h 1644"/>
                <a:gd name="T120" fmla="*/ 974 w 3734"/>
                <a:gd name="T121" fmla="*/ 513 h 1644"/>
                <a:gd name="T122" fmla="*/ 1029 w 3734"/>
                <a:gd name="T123" fmla="*/ 481 h 1644"/>
                <a:gd name="T124" fmla="*/ 973 w 3734"/>
                <a:gd name="T125" fmla="*/ 487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24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115257 w 292"/>
              <a:gd name="T1" fmla="*/ 5154 h 308"/>
              <a:gd name="T2" fmla="*/ 120041 w 292"/>
              <a:gd name="T3" fmla="*/ 19071 h 308"/>
              <a:gd name="T4" fmla="*/ 124390 w 292"/>
              <a:gd name="T5" fmla="*/ 46903 h 308"/>
              <a:gd name="T6" fmla="*/ 127000 w 292"/>
              <a:gd name="T7" fmla="*/ 74221 h 308"/>
              <a:gd name="T8" fmla="*/ 126565 w 292"/>
              <a:gd name="T9" fmla="*/ 82983 h 308"/>
              <a:gd name="T10" fmla="*/ 124390 w 292"/>
              <a:gd name="T11" fmla="*/ 92261 h 308"/>
              <a:gd name="T12" fmla="*/ 116997 w 292"/>
              <a:gd name="T13" fmla="*/ 106177 h 308"/>
              <a:gd name="T14" fmla="*/ 100469 w 292"/>
              <a:gd name="T15" fmla="*/ 95353 h 308"/>
              <a:gd name="T16" fmla="*/ 71764 w 292"/>
              <a:gd name="T17" fmla="*/ 132979 h 308"/>
              <a:gd name="T18" fmla="*/ 57411 w 292"/>
              <a:gd name="T19" fmla="*/ 143287 h 308"/>
              <a:gd name="T20" fmla="*/ 25661 w 292"/>
              <a:gd name="T21" fmla="*/ 152565 h 308"/>
              <a:gd name="T22" fmla="*/ 13918 w 292"/>
              <a:gd name="T23" fmla="*/ 158750 h 308"/>
              <a:gd name="T24" fmla="*/ 2610 w 292"/>
              <a:gd name="T25" fmla="*/ 158750 h 308"/>
              <a:gd name="T26" fmla="*/ 3914 w 292"/>
              <a:gd name="T27" fmla="*/ 153080 h 308"/>
              <a:gd name="T28" fmla="*/ 4784 w 292"/>
              <a:gd name="T29" fmla="*/ 147411 h 308"/>
              <a:gd name="T30" fmla="*/ 3045 w 292"/>
              <a:gd name="T31" fmla="*/ 136587 h 308"/>
              <a:gd name="T32" fmla="*/ 870 w 292"/>
              <a:gd name="T33" fmla="*/ 126794 h 308"/>
              <a:gd name="T34" fmla="*/ 0 w 292"/>
              <a:gd name="T35" fmla="*/ 117516 h 308"/>
              <a:gd name="T36" fmla="*/ 1305 w 292"/>
              <a:gd name="T37" fmla="*/ 105662 h 308"/>
              <a:gd name="T38" fmla="*/ 5219 w 292"/>
              <a:gd name="T39" fmla="*/ 96899 h 308"/>
              <a:gd name="T40" fmla="*/ 11308 w 292"/>
              <a:gd name="T41" fmla="*/ 89683 h 308"/>
              <a:gd name="T42" fmla="*/ 18267 w 292"/>
              <a:gd name="T43" fmla="*/ 82983 h 308"/>
              <a:gd name="T44" fmla="*/ 33490 w 292"/>
              <a:gd name="T45" fmla="*/ 69582 h 308"/>
              <a:gd name="T46" fmla="*/ 40449 w 292"/>
              <a:gd name="T47" fmla="*/ 61335 h 308"/>
              <a:gd name="T48" fmla="*/ 45668 w 292"/>
              <a:gd name="T49" fmla="*/ 50511 h 308"/>
              <a:gd name="T50" fmla="*/ 42623 w 292"/>
              <a:gd name="T51" fmla="*/ 49481 h 308"/>
              <a:gd name="T52" fmla="*/ 40014 w 292"/>
              <a:gd name="T53" fmla="*/ 46903 h 308"/>
              <a:gd name="T54" fmla="*/ 35664 w 292"/>
              <a:gd name="T55" fmla="*/ 37626 h 308"/>
              <a:gd name="T56" fmla="*/ 32185 w 292"/>
              <a:gd name="T57" fmla="*/ 25771 h 308"/>
              <a:gd name="T58" fmla="*/ 31315 w 292"/>
              <a:gd name="T59" fmla="*/ 12370 h 308"/>
              <a:gd name="T60" fmla="*/ 39144 w 292"/>
              <a:gd name="T61" fmla="*/ 9793 h 308"/>
              <a:gd name="T62" fmla="*/ 45668 w 292"/>
              <a:gd name="T63" fmla="*/ 10308 h 308"/>
              <a:gd name="T64" fmla="*/ 57411 w 292"/>
              <a:gd name="T65" fmla="*/ 12370 h 308"/>
              <a:gd name="T66" fmla="*/ 73503 w 292"/>
              <a:gd name="T67" fmla="*/ 10824 h 308"/>
              <a:gd name="T68" fmla="*/ 91336 w 292"/>
              <a:gd name="T69" fmla="*/ 6185 h 308"/>
              <a:gd name="T70" fmla="*/ 112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5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4989 w 14"/>
              <a:gd name="T1" fmla="*/ 0 h 7"/>
              <a:gd name="T2" fmla="*/ 5896 w 14"/>
              <a:gd name="T3" fmla="*/ 24493 h 7"/>
              <a:gd name="T4" fmla="*/ 6350 w 14"/>
              <a:gd name="T5" fmla="*/ 57150 h 7"/>
              <a:gd name="T6" fmla="*/ 0 w 14"/>
              <a:gd name="T7" fmla="*/ 57150 h 7"/>
              <a:gd name="T8" fmla="*/ 4989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6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34747 w 581"/>
              <a:gd name="T1" fmla="*/ 60217 h 955"/>
              <a:gd name="T2" fmla="*/ 44614 w 581"/>
              <a:gd name="T3" fmla="*/ 79591 h 955"/>
              <a:gd name="T4" fmla="*/ 47617 w 581"/>
              <a:gd name="T5" fmla="*/ 94253 h 955"/>
              <a:gd name="T6" fmla="*/ 40753 w 581"/>
              <a:gd name="T7" fmla="*/ 122528 h 955"/>
              <a:gd name="T8" fmla="*/ 41182 w 581"/>
              <a:gd name="T9" fmla="*/ 170178 h 955"/>
              <a:gd name="T10" fmla="*/ 39895 w 581"/>
              <a:gd name="T11" fmla="*/ 190076 h 955"/>
              <a:gd name="T12" fmla="*/ 35176 w 581"/>
              <a:gd name="T13" fmla="*/ 207356 h 955"/>
              <a:gd name="T14" fmla="*/ 25310 w 581"/>
              <a:gd name="T15" fmla="*/ 224635 h 955"/>
              <a:gd name="T16" fmla="*/ 13298 w 581"/>
              <a:gd name="T17" fmla="*/ 241391 h 955"/>
              <a:gd name="T18" fmla="*/ 7293 w 581"/>
              <a:gd name="T19" fmla="*/ 251864 h 955"/>
              <a:gd name="T20" fmla="*/ 858 w 581"/>
              <a:gd name="T21" fmla="*/ 283805 h 955"/>
              <a:gd name="T22" fmla="*/ 29600 w 581"/>
              <a:gd name="T23" fmla="*/ 322553 h 955"/>
              <a:gd name="T24" fmla="*/ 29600 w 581"/>
              <a:gd name="T25" fmla="*/ 331978 h 955"/>
              <a:gd name="T26" fmla="*/ 31744 w 581"/>
              <a:gd name="T27" fmla="*/ 348211 h 955"/>
              <a:gd name="T28" fmla="*/ 31744 w 581"/>
              <a:gd name="T29" fmla="*/ 364443 h 955"/>
              <a:gd name="T30" fmla="*/ 33460 w 581"/>
              <a:gd name="T31" fmla="*/ 383817 h 955"/>
              <a:gd name="T32" fmla="*/ 40324 w 581"/>
              <a:gd name="T33" fmla="*/ 407380 h 955"/>
              <a:gd name="T34" fmla="*/ 45043 w 581"/>
              <a:gd name="T35" fmla="*/ 414711 h 955"/>
              <a:gd name="T36" fmla="*/ 29171 w 581"/>
              <a:gd name="T37" fmla="*/ 415758 h 955"/>
              <a:gd name="T38" fmla="*/ 18017 w 581"/>
              <a:gd name="T39" fmla="*/ 419947 h 955"/>
              <a:gd name="T40" fmla="*/ 15443 w 581"/>
              <a:gd name="T41" fmla="*/ 425184 h 955"/>
              <a:gd name="T42" fmla="*/ 18017 w 581"/>
              <a:gd name="T43" fmla="*/ 440892 h 955"/>
              <a:gd name="T44" fmla="*/ 29600 w 581"/>
              <a:gd name="T45" fmla="*/ 458696 h 955"/>
              <a:gd name="T46" fmla="*/ 37321 w 581"/>
              <a:gd name="T47" fmla="*/ 470739 h 955"/>
              <a:gd name="T48" fmla="*/ 42898 w 581"/>
              <a:gd name="T49" fmla="*/ 485400 h 955"/>
              <a:gd name="T50" fmla="*/ 66921 w 581"/>
              <a:gd name="T51" fmla="*/ 500062 h 955"/>
              <a:gd name="T52" fmla="*/ 81077 w 581"/>
              <a:gd name="T53" fmla="*/ 493255 h 955"/>
              <a:gd name="T54" fmla="*/ 106387 w 581"/>
              <a:gd name="T55" fmla="*/ 486448 h 955"/>
              <a:gd name="T56" fmla="*/ 119685 w 581"/>
              <a:gd name="T57" fmla="*/ 482259 h 955"/>
              <a:gd name="T58" fmla="*/ 127407 w 581"/>
              <a:gd name="T59" fmla="*/ 473357 h 955"/>
              <a:gd name="T60" fmla="*/ 129552 w 581"/>
              <a:gd name="T61" fmla="*/ 467074 h 955"/>
              <a:gd name="T62" fmla="*/ 129552 w 581"/>
              <a:gd name="T63" fmla="*/ 454507 h 955"/>
              <a:gd name="T64" fmla="*/ 144995 w 581"/>
              <a:gd name="T65" fmla="*/ 456077 h 955"/>
              <a:gd name="T66" fmla="*/ 157435 w 581"/>
              <a:gd name="T67" fmla="*/ 453459 h 955"/>
              <a:gd name="T68" fmla="*/ 166873 w 581"/>
              <a:gd name="T69" fmla="*/ 448223 h 955"/>
              <a:gd name="T70" fmla="*/ 173737 w 581"/>
              <a:gd name="T71" fmla="*/ 440892 h 955"/>
              <a:gd name="T72" fmla="*/ 185319 w 581"/>
              <a:gd name="T73" fmla="*/ 422565 h 955"/>
              <a:gd name="T74" fmla="*/ 197330 w 581"/>
              <a:gd name="T75" fmla="*/ 404762 h 955"/>
              <a:gd name="T76" fmla="*/ 204623 w 581"/>
              <a:gd name="T77" fmla="*/ 397955 h 955"/>
              <a:gd name="T78" fmla="*/ 215348 w 581"/>
              <a:gd name="T79" fmla="*/ 393766 h 955"/>
              <a:gd name="T80" fmla="*/ 223498 w 581"/>
              <a:gd name="T81" fmla="*/ 390101 h 955"/>
              <a:gd name="T82" fmla="*/ 214061 w 581"/>
              <a:gd name="T83" fmla="*/ 364967 h 955"/>
              <a:gd name="T84" fmla="*/ 207626 w 581"/>
              <a:gd name="T85" fmla="*/ 341927 h 955"/>
              <a:gd name="T86" fmla="*/ 202478 w 581"/>
              <a:gd name="T87" fmla="*/ 326218 h 955"/>
              <a:gd name="T88" fmla="*/ 206339 w 581"/>
              <a:gd name="T89" fmla="*/ 319411 h 955"/>
              <a:gd name="T90" fmla="*/ 208913 w 581"/>
              <a:gd name="T91" fmla="*/ 303179 h 955"/>
              <a:gd name="T92" fmla="*/ 211916 w 581"/>
              <a:gd name="T93" fmla="*/ 283281 h 955"/>
              <a:gd name="T94" fmla="*/ 216635 w 581"/>
              <a:gd name="T95" fmla="*/ 271761 h 955"/>
              <a:gd name="T96" fmla="*/ 228217 w 581"/>
              <a:gd name="T97" fmla="*/ 254482 h 955"/>
              <a:gd name="T98" fmla="*/ 244518 w 581"/>
              <a:gd name="T99" fmla="*/ 241391 h 955"/>
              <a:gd name="T100" fmla="*/ 55338 w 581"/>
              <a:gd name="T101" fmla="*/ 0 h 955"/>
              <a:gd name="T102" fmla="*/ 42040 w 581"/>
              <a:gd name="T103" fmla="*/ 2618 h 955"/>
              <a:gd name="T104" fmla="*/ 29600 w 581"/>
              <a:gd name="T105" fmla="*/ 1256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7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9172 w 45"/>
              <a:gd name="T1" fmla="*/ 0 h 36"/>
              <a:gd name="T2" fmla="*/ 0 w 45"/>
              <a:gd name="T3" fmla="*/ 28575 h 36"/>
              <a:gd name="T4" fmla="*/ 8114 w 45"/>
              <a:gd name="T5" fmla="*/ 57150 h 36"/>
              <a:gd name="T6" fmla="*/ 15875 w 45"/>
              <a:gd name="T7" fmla="*/ 23813 h 36"/>
              <a:gd name="T8" fmla="*/ 9172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328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</p:grpSpPr>
        <p:sp>
          <p:nvSpPr>
            <p:cNvPr id="2439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15 w 46"/>
                <a:gd name="T1" fmla="*/ 4 h 51"/>
                <a:gd name="T2" fmla="*/ 6 w 46"/>
                <a:gd name="T3" fmla="*/ 0 h 51"/>
                <a:gd name="T4" fmla="*/ 4 w 46"/>
                <a:gd name="T5" fmla="*/ 2 h 51"/>
                <a:gd name="T6" fmla="*/ 2 w 46"/>
                <a:gd name="T7" fmla="*/ 3 h 51"/>
                <a:gd name="T8" fmla="*/ 1 w 46"/>
                <a:gd name="T9" fmla="*/ 4 h 51"/>
                <a:gd name="T10" fmla="*/ 1 w 46"/>
                <a:gd name="T11" fmla="*/ 5 h 51"/>
                <a:gd name="T12" fmla="*/ 0 w 46"/>
                <a:gd name="T13" fmla="*/ 5 h 51"/>
                <a:gd name="T14" fmla="*/ 0 w 46"/>
                <a:gd name="T15" fmla="*/ 6 h 51"/>
                <a:gd name="T16" fmla="*/ 0 w 46"/>
                <a:gd name="T17" fmla="*/ 8 h 51"/>
                <a:gd name="T18" fmla="*/ 1 w 46"/>
                <a:gd name="T19" fmla="*/ 10 h 51"/>
                <a:gd name="T20" fmla="*/ 1 w 46"/>
                <a:gd name="T21" fmla="*/ 12 h 51"/>
                <a:gd name="T22" fmla="*/ 2 w 46"/>
                <a:gd name="T23" fmla="*/ 14 h 51"/>
                <a:gd name="T24" fmla="*/ 3 w 46"/>
                <a:gd name="T25" fmla="*/ 15 h 51"/>
                <a:gd name="T26" fmla="*/ 4 w 46"/>
                <a:gd name="T27" fmla="*/ 16 h 51"/>
                <a:gd name="T28" fmla="*/ 5 w 46"/>
                <a:gd name="T29" fmla="*/ 17 h 51"/>
                <a:gd name="T30" fmla="*/ 5 w 46"/>
                <a:gd name="T31" fmla="*/ 17 h 51"/>
                <a:gd name="T32" fmla="*/ 6 w 46"/>
                <a:gd name="T33" fmla="*/ 17 h 51"/>
                <a:gd name="T34" fmla="*/ 6 w 46"/>
                <a:gd name="T35" fmla="*/ 17 h 51"/>
                <a:gd name="T36" fmla="*/ 11 w 46"/>
                <a:gd name="T37" fmla="*/ 17 h 51"/>
                <a:gd name="T38" fmla="*/ 15 w 46"/>
                <a:gd name="T39" fmla="*/ 17 h 51"/>
                <a:gd name="T40" fmla="*/ 15 w 46"/>
                <a:gd name="T41" fmla="*/ 12 h 51"/>
                <a:gd name="T42" fmla="*/ 15 w 46"/>
                <a:gd name="T43" fmla="*/ 9 h 51"/>
                <a:gd name="T44" fmla="*/ 15 w 46"/>
                <a:gd name="T45" fmla="*/ 6 h 51"/>
                <a:gd name="T46" fmla="*/ 15 w 46"/>
                <a:gd name="T47" fmla="*/ 4 h 5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0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5 h 158"/>
                <a:gd name="T4" fmla="*/ 1 w 192"/>
                <a:gd name="T5" fmla="*/ 9 h 158"/>
                <a:gd name="T6" fmla="*/ 1 w 192"/>
                <a:gd name="T7" fmla="*/ 13 h 158"/>
                <a:gd name="T8" fmla="*/ 2 w 192"/>
                <a:gd name="T9" fmla="*/ 17 h 158"/>
                <a:gd name="T10" fmla="*/ 4 w 192"/>
                <a:gd name="T11" fmla="*/ 20 h 158"/>
                <a:gd name="T12" fmla="*/ 5 w 192"/>
                <a:gd name="T13" fmla="*/ 24 h 158"/>
                <a:gd name="T14" fmla="*/ 7 w 192"/>
                <a:gd name="T15" fmla="*/ 27 h 158"/>
                <a:gd name="T16" fmla="*/ 8 w 192"/>
                <a:gd name="T17" fmla="*/ 30 h 158"/>
                <a:gd name="T18" fmla="*/ 15 w 192"/>
                <a:gd name="T19" fmla="*/ 41 h 158"/>
                <a:gd name="T20" fmla="*/ 22 w 192"/>
                <a:gd name="T21" fmla="*/ 50 h 158"/>
                <a:gd name="T22" fmla="*/ 24 w 192"/>
                <a:gd name="T23" fmla="*/ 51 h 158"/>
                <a:gd name="T24" fmla="*/ 26 w 192"/>
                <a:gd name="T25" fmla="*/ 51 h 158"/>
                <a:gd name="T26" fmla="*/ 28 w 192"/>
                <a:gd name="T27" fmla="*/ 52 h 158"/>
                <a:gd name="T28" fmla="*/ 30 w 192"/>
                <a:gd name="T29" fmla="*/ 52 h 158"/>
                <a:gd name="T30" fmla="*/ 34 w 192"/>
                <a:gd name="T31" fmla="*/ 53 h 158"/>
                <a:gd name="T32" fmla="*/ 39 w 192"/>
                <a:gd name="T33" fmla="*/ 53 h 158"/>
                <a:gd name="T34" fmla="*/ 50 w 192"/>
                <a:gd name="T35" fmla="*/ 52 h 158"/>
                <a:gd name="T36" fmla="*/ 63 w 192"/>
                <a:gd name="T37" fmla="*/ 52 h 158"/>
                <a:gd name="T38" fmla="*/ 60 w 192"/>
                <a:gd name="T39" fmla="*/ 51 h 158"/>
                <a:gd name="T40" fmla="*/ 58 w 192"/>
                <a:gd name="T41" fmla="*/ 51 h 158"/>
                <a:gd name="T42" fmla="*/ 55 w 192"/>
                <a:gd name="T43" fmla="*/ 51 h 158"/>
                <a:gd name="T44" fmla="*/ 53 w 192"/>
                <a:gd name="T45" fmla="*/ 50 h 158"/>
                <a:gd name="T46" fmla="*/ 48 w 192"/>
                <a:gd name="T47" fmla="*/ 48 h 158"/>
                <a:gd name="T48" fmla="*/ 42 w 192"/>
                <a:gd name="T49" fmla="*/ 46 h 158"/>
                <a:gd name="T50" fmla="*/ 38 w 192"/>
                <a:gd name="T51" fmla="*/ 44 h 158"/>
                <a:gd name="T52" fmla="*/ 33 w 192"/>
                <a:gd name="T53" fmla="*/ 40 h 158"/>
                <a:gd name="T54" fmla="*/ 29 w 192"/>
                <a:gd name="T55" fmla="*/ 37 h 158"/>
                <a:gd name="T56" fmla="*/ 25 w 192"/>
                <a:gd name="T57" fmla="*/ 33 h 158"/>
                <a:gd name="T58" fmla="*/ 21 w 192"/>
                <a:gd name="T59" fmla="*/ 29 h 158"/>
                <a:gd name="T60" fmla="*/ 17 w 192"/>
                <a:gd name="T61" fmla="*/ 25 h 158"/>
                <a:gd name="T62" fmla="*/ 14 w 192"/>
                <a:gd name="T63" fmla="*/ 21 h 158"/>
                <a:gd name="T64" fmla="*/ 11 w 192"/>
                <a:gd name="T65" fmla="*/ 17 h 158"/>
                <a:gd name="T66" fmla="*/ 9 w 192"/>
                <a:gd name="T67" fmla="*/ 13 h 158"/>
                <a:gd name="T68" fmla="*/ 7 w 192"/>
                <a:gd name="T69" fmla="*/ 9 h 158"/>
                <a:gd name="T70" fmla="*/ 5 w 192"/>
                <a:gd name="T71" fmla="*/ 5 h 158"/>
                <a:gd name="T72" fmla="*/ 4 w 192"/>
                <a:gd name="T73" fmla="*/ 2 h 158"/>
                <a:gd name="T74" fmla="*/ 0 w 192"/>
                <a:gd name="T75" fmla="*/ 0 h 15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1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253 w 884"/>
                <a:gd name="T1" fmla="*/ 138 h 1818"/>
                <a:gd name="T2" fmla="*/ 286 w 884"/>
                <a:gd name="T3" fmla="*/ 114 h 1818"/>
                <a:gd name="T4" fmla="*/ 290 w 884"/>
                <a:gd name="T5" fmla="*/ 77 h 1818"/>
                <a:gd name="T6" fmla="*/ 276 w 884"/>
                <a:gd name="T7" fmla="*/ 64 h 1818"/>
                <a:gd name="T8" fmla="*/ 276 w 884"/>
                <a:gd name="T9" fmla="*/ 87 h 1818"/>
                <a:gd name="T10" fmla="*/ 254 w 884"/>
                <a:gd name="T11" fmla="*/ 109 h 1818"/>
                <a:gd name="T12" fmla="*/ 219 w 884"/>
                <a:gd name="T13" fmla="*/ 110 h 1818"/>
                <a:gd name="T14" fmla="*/ 205 w 884"/>
                <a:gd name="T15" fmla="*/ 97 h 1818"/>
                <a:gd name="T16" fmla="*/ 216 w 884"/>
                <a:gd name="T17" fmla="*/ 72 h 1818"/>
                <a:gd name="T18" fmla="*/ 178 w 884"/>
                <a:gd name="T19" fmla="*/ 49 h 1818"/>
                <a:gd name="T20" fmla="*/ 139 w 884"/>
                <a:gd name="T21" fmla="*/ 29 h 1818"/>
                <a:gd name="T22" fmla="*/ 122 w 884"/>
                <a:gd name="T23" fmla="*/ 3 h 1818"/>
                <a:gd name="T24" fmla="*/ 94 w 884"/>
                <a:gd name="T25" fmla="*/ 7 h 1818"/>
                <a:gd name="T26" fmla="*/ 77 w 884"/>
                <a:gd name="T27" fmla="*/ 8 h 1818"/>
                <a:gd name="T28" fmla="*/ 56 w 884"/>
                <a:gd name="T29" fmla="*/ 3 h 1818"/>
                <a:gd name="T30" fmla="*/ 32 w 884"/>
                <a:gd name="T31" fmla="*/ 18 h 1818"/>
                <a:gd name="T32" fmla="*/ 22 w 884"/>
                <a:gd name="T33" fmla="*/ 39 h 1818"/>
                <a:gd name="T34" fmla="*/ 9 w 884"/>
                <a:gd name="T35" fmla="*/ 60 h 1818"/>
                <a:gd name="T36" fmla="*/ 18 w 884"/>
                <a:gd name="T37" fmla="*/ 84 h 1818"/>
                <a:gd name="T38" fmla="*/ 17 w 884"/>
                <a:gd name="T39" fmla="*/ 106 h 1818"/>
                <a:gd name="T40" fmla="*/ 0 w 884"/>
                <a:gd name="T41" fmla="*/ 144 h 1818"/>
                <a:gd name="T42" fmla="*/ 4 w 884"/>
                <a:gd name="T43" fmla="*/ 203 h 1818"/>
                <a:gd name="T44" fmla="*/ 25 w 884"/>
                <a:gd name="T45" fmla="*/ 232 h 1818"/>
                <a:gd name="T46" fmla="*/ 20 w 884"/>
                <a:gd name="T47" fmla="*/ 251 h 1818"/>
                <a:gd name="T48" fmla="*/ 20 w 884"/>
                <a:gd name="T49" fmla="*/ 269 h 1818"/>
                <a:gd name="T50" fmla="*/ 27 w 884"/>
                <a:gd name="T51" fmla="*/ 283 h 1818"/>
                <a:gd name="T52" fmla="*/ 17 w 884"/>
                <a:gd name="T53" fmla="*/ 300 h 1818"/>
                <a:gd name="T54" fmla="*/ 27 w 884"/>
                <a:gd name="T55" fmla="*/ 328 h 1818"/>
                <a:gd name="T56" fmla="*/ 27 w 884"/>
                <a:gd name="T57" fmla="*/ 352 h 1818"/>
                <a:gd name="T58" fmla="*/ 26 w 884"/>
                <a:gd name="T59" fmla="*/ 384 h 1818"/>
                <a:gd name="T60" fmla="*/ 45 w 884"/>
                <a:gd name="T61" fmla="*/ 422 h 1818"/>
                <a:gd name="T62" fmla="*/ 65 w 884"/>
                <a:gd name="T63" fmla="*/ 465 h 1818"/>
                <a:gd name="T64" fmla="*/ 71 w 884"/>
                <a:gd name="T65" fmla="*/ 488 h 1818"/>
                <a:gd name="T66" fmla="*/ 75 w 884"/>
                <a:gd name="T67" fmla="*/ 509 h 1818"/>
                <a:gd name="T68" fmla="*/ 70 w 884"/>
                <a:gd name="T69" fmla="*/ 530 h 1818"/>
                <a:gd name="T70" fmla="*/ 66 w 884"/>
                <a:gd name="T71" fmla="*/ 548 h 1818"/>
                <a:gd name="T72" fmla="*/ 75 w 884"/>
                <a:gd name="T73" fmla="*/ 573 h 1818"/>
                <a:gd name="T74" fmla="*/ 102 w 884"/>
                <a:gd name="T75" fmla="*/ 591 h 1818"/>
                <a:gd name="T76" fmla="*/ 129 w 884"/>
                <a:gd name="T77" fmla="*/ 599 h 1818"/>
                <a:gd name="T78" fmla="*/ 148 w 884"/>
                <a:gd name="T79" fmla="*/ 595 h 1818"/>
                <a:gd name="T80" fmla="*/ 149 w 884"/>
                <a:gd name="T81" fmla="*/ 568 h 1818"/>
                <a:gd name="T82" fmla="*/ 154 w 884"/>
                <a:gd name="T83" fmla="*/ 537 h 1818"/>
                <a:gd name="T84" fmla="*/ 162 w 884"/>
                <a:gd name="T85" fmla="*/ 503 h 1818"/>
                <a:gd name="T86" fmla="*/ 138 w 884"/>
                <a:gd name="T87" fmla="*/ 495 h 1818"/>
                <a:gd name="T88" fmla="*/ 132 w 884"/>
                <a:gd name="T89" fmla="*/ 477 h 1818"/>
                <a:gd name="T90" fmla="*/ 149 w 884"/>
                <a:gd name="T91" fmla="*/ 465 h 1818"/>
                <a:gd name="T92" fmla="*/ 159 w 884"/>
                <a:gd name="T93" fmla="*/ 444 h 1818"/>
                <a:gd name="T94" fmla="*/ 149 w 884"/>
                <a:gd name="T95" fmla="*/ 408 h 1818"/>
                <a:gd name="T96" fmla="*/ 139 w 884"/>
                <a:gd name="T97" fmla="*/ 380 h 1818"/>
                <a:gd name="T98" fmla="*/ 170 w 884"/>
                <a:gd name="T99" fmla="*/ 389 h 1818"/>
                <a:gd name="T100" fmla="*/ 186 w 884"/>
                <a:gd name="T101" fmla="*/ 384 h 1818"/>
                <a:gd name="T102" fmla="*/ 183 w 884"/>
                <a:gd name="T103" fmla="*/ 359 h 1818"/>
                <a:gd name="T104" fmla="*/ 185 w 884"/>
                <a:gd name="T105" fmla="*/ 343 h 1818"/>
                <a:gd name="T106" fmla="*/ 222 w 884"/>
                <a:gd name="T107" fmla="*/ 341 h 1818"/>
                <a:gd name="T108" fmla="*/ 261 w 884"/>
                <a:gd name="T109" fmla="*/ 324 h 1818"/>
                <a:gd name="T110" fmla="*/ 268 w 884"/>
                <a:gd name="T111" fmla="*/ 294 h 1818"/>
                <a:gd name="T112" fmla="*/ 256 w 884"/>
                <a:gd name="T113" fmla="*/ 284 h 1818"/>
                <a:gd name="T114" fmla="*/ 249 w 884"/>
                <a:gd name="T115" fmla="*/ 270 h 1818"/>
                <a:gd name="T116" fmla="*/ 227 w 884"/>
                <a:gd name="T117" fmla="*/ 251 h 1818"/>
                <a:gd name="T118" fmla="*/ 230 w 884"/>
                <a:gd name="T119" fmla="*/ 177 h 18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29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14646 w 279"/>
              <a:gd name="T1" fmla="*/ 46715 h 204"/>
              <a:gd name="T2" fmla="*/ 26185 w 279"/>
              <a:gd name="T3" fmla="*/ 76247 h 204"/>
              <a:gd name="T4" fmla="*/ 26185 w 279"/>
              <a:gd name="T5" fmla="*/ 96114 h 204"/>
              <a:gd name="T6" fmla="*/ 45269 w 279"/>
              <a:gd name="T7" fmla="*/ 105242 h 204"/>
              <a:gd name="T8" fmla="*/ 54146 w 279"/>
              <a:gd name="T9" fmla="*/ 108464 h 204"/>
              <a:gd name="T10" fmla="*/ 61691 w 279"/>
              <a:gd name="T11" fmla="*/ 109538 h 204"/>
              <a:gd name="T12" fmla="*/ 64797 w 279"/>
              <a:gd name="T13" fmla="*/ 107927 h 204"/>
              <a:gd name="T14" fmla="*/ 67016 w 279"/>
              <a:gd name="T15" fmla="*/ 104168 h 204"/>
              <a:gd name="T16" fmla="*/ 71011 w 279"/>
              <a:gd name="T17" fmla="*/ 92356 h 204"/>
              <a:gd name="T18" fmla="*/ 76337 w 279"/>
              <a:gd name="T19" fmla="*/ 80006 h 204"/>
              <a:gd name="T20" fmla="*/ 80331 w 279"/>
              <a:gd name="T21" fmla="*/ 75710 h 204"/>
              <a:gd name="T22" fmla="*/ 85213 w 279"/>
              <a:gd name="T23" fmla="*/ 73025 h 204"/>
              <a:gd name="T24" fmla="*/ 92758 w 279"/>
              <a:gd name="T25" fmla="*/ 74099 h 204"/>
              <a:gd name="T26" fmla="*/ 97640 w 279"/>
              <a:gd name="T27" fmla="*/ 76247 h 204"/>
              <a:gd name="T28" fmla="*/ 101190 w 279"/>
              <a:gd name="T29" fmla="*/ 79469 h 204"/>
              <a:gd name="T30" fmla="*/ 102522 w 279"/>
              <a:gd name="T31" fmla="*/ 82690 h 204"/>
              <a:gd name="T32" fmla="*/ 103853 w 279"/>
              <a:gd name="T33" fmla="*/ 88060 h 204"/>
              <a:gd name="T34" fmla="*/ 102522 w 279"/>
              <a:gd name="T35" fmla="*/ 89671 h 204"/>
              <a:gd name="T36" fmla="*/ 103853 w 279"/>
              <a:gd name="T37" fmla="*/ 82154 h 204"/>
              <a:gd name="T38" fmla="*/ 105628 w 279"/>
              <a:gd name="T39" fmla="*/ 75173 h 204"/>
              <a:gd name="T40" fmla="*/ 108735 w 279"/>
              <a:gd name="T41" fmla="*/ 62823 h 204"/>
              <a:gd name="T42" fmla="*/ 112730 w 279"/>
              <a:gd name="T43" fmla="*/ 61749 h 204"/>
              <a:gd name="T44" fmla="*/ 117168 w 279"/>
              <a:gd name="T45" fmla="*/ 59065 h 204"/>
              <a:gd name="T46" fmla="*/ 123825 w 279"/>
              <a:gd name="T47" fmla="*/ 53158 h 204"/>
              <a:gd name="T48" fmla="*/ 111842 w 279"/>
              <a:gd name="T49" fmla="*/ 40271 h 204"/>
              <a:gd name="T50" fmla="*/ 100747 w 279"/>
              <a:gd name="T51" fmla="*/ 31143 h 204"/>
              <a:gd name="T52" fmla="*/ 90539 w 279"/>
              <a:gd name="T53" fmla="*/ 23626 h 204"/>
              <a:gd name="T54" fmla="*/ 82106 w 279"/>
              <a:gd name="T55" fmla="*/ 16645 h 204"/>
              <a:gd name="T56" fmla="*/ 64797 w 279"/>
              <a:gd name="T57" fmla="*/ 36513 h 204"/>
              <a:gd name="T58" fmla="*/ 35062 w 279"/>
              <a:gd name="T59" fmla="*/ 13424 h 204"/>
              <a:gd name="T60" fmla="*/ 23078 w 279"/>
              <a:gd name="T61" fmla="*/ 6443 h 204"/>
              <a:gd name="T62" fmla="*/ 20416 w 279"/>
              <a:gd name="T63" fmla="*/ 33291 h 204"/>
              <a:gd name="T64" fmla="*/ 0 w 279"/>
              <a:gd name="T65" fmla="*/ 30069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0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108880 w 485"/>
              <a:gd name="T1" fmla="*/ 10365 h 291"/>
              <a:gd name="T2" fmla="*/ 129619 w 485"/>
              <a:gd name="T3" fmla="*/ 22803 h 291"/>
              <a:gd name="T4" fmla="*/ 160727 w 485"/>
              <a:gd name="T5" fmla="*/ 22803 h 291"/>
              <a:gd name="T6" fmla="*/ 183626 w 485"/>
              <a:gd name="T7" fmla="*/ 67891 h 291"/>
              <a:gd name="T8" fmla="*/ 209550 w 485"/>
              <a:gd name="T9" fmla="*/ 86548 h 291"/>
              <a:gd name="T10" fmla="*/ 178009 w 485"/>
              <a:gd name="T11" fmla="*/ 89658 h 291"/>
              <a:gd name="T12" fmla="*/ 187083 w 485"/>
              <a:gd name="T13" fmla="*/ 108833 h 291"/>
              <a:gd name="T14" fmla="*/ 169368 w 485"/>
              <a:gd name="T15" fmla="*/ 124899 h 291"/>
              <a:gd name="T16" fmla="*/ 166344 w 485"/>
              <a:gd name="T17" fmla="*/ 150812 h 291"/>
              <a:gd name="T18" fmla="*/ 123138 w 485"/>
              <a:gd name="T19" fmla="*/ 137856 h 291"/>
              <a:gd name="T20" fmla="*/ 74747 w 485"/>
              <a:gd name="T21" fmla="*/ 131637 h 291"/>
              <a:gd name="T22" fmla="*/ 25924 w 485"/>
              <a:gd name="T23" fmla="*/ 137856 h 291"/>
              <a:gd name="T24" fmla="*/ 6481 w 485"/>
              <a:gd name="T25" fmla="*/ 140447 h 291"/>
              <a:gd name="T26" fmla="*/ 3456 w 485"/>
              <a:gd name="T27" fmla="*/ 133191 h 291"/>
              <a:gd name="T28" fmla="*/ 1296 w 485"/>
              <a:gd name="T29" fmla="*/ 126454 h 291"/>
              <a:gd name="T30" fmla="*/ 0 w 485"/>
              <a:gd name="T31" fmla="*/ 118680 h 291"/>
              <a:gd name="T32" fmla="*/ 2160 w 485"/>
              <a:gd name="T33" fmla="*/ 113498 h 291"/>
              <a:gd name="T34" fmla="*/ 6049 w 485"/>
              <a:gd name="T35" fmla="*/ 107279 h 291"/>
              <a:gd name="T36" fmla="*/ 9937 w 485"/>
              <a:gd name="T37" fmla="*/ 97950 h 291"/>
              <a:gd name="T38" fmla="*/ 13394 w 485"/>
              <a:gd name="T39" fmla="*/ 86030 h 291"/>
              <a:gd name="T40" fmla="*/ 17715 w 485"/>
              <a:gd name="T41" fmla="*/ 71001 h 291"/>
              <a:gd name="T42" fmla="*/ 20739 w 485"/>
              <a:gd name="T43" fmla="*/ 65300 h 291"/>
              <a:gd name="T44" fmla="*/ 25924 w 485"/>
              <a:gd name="T45" fmla="*/ 61672 h 291"/>
              <a:gd name="T46" fmla="*/ 37589 w 485"/>
              <a:gd name="T47" fmla="*/ 57526 h 291"/>
              <a:gd name="T48" fmla="*/ 38454 w 485"/>
              <a:gd name="T49" fmla="*/ 54935 h 291"/>
              <a:gd name="T50" fmla="*/ 40614 w 485"/>
              <a:gd name="T51" fmla="*/ 51825 h 291"/>
              <a:gd name="T52" fmla="*/ 43638 w 485"/>
              <a:gd name="T53" fmla="*/ 49234 h 291"/>
              <a:gd name="T54" fmla="*/ 45799 w 485"/>
              <a:gd name="T55" fmla="*/ 48198 h 291"/>
              <a:gd name="T56" fmla="*/ 45799 w 485"/>
              <a:gd name="T57" fmla="*/ 39387 h 291"/>
              <a:gd name="T58" fmla="*/ 47095 w 485"/>
              <a:gd name="T59" fmla="*/ 36278 h 291"/>
              <a:gd name="T60" fmla="*/ 48823 w 485"/>
              <a:gd name="T61" fmla="*/ 34723 h 291"/>
              <a:gd name="T62" fmla="*/ 52712 w 485"/>
              <a:gd name="T63" fmla="*/ 35760 h 291"/>
              <a:gd name="T64" fmla="*/ 55304 w 485"/>
              <a:gd name="T65" fmla="*/ 35760 h 291"/>
              <a:gd name="T66" fmla="*/ 57032 w 485"/>
              <a:gd name="T67" fmla="*/ 34205 h 291"/>
              <a:gd name="T68" fmla="*/ 57896 w 485"/>
              <a:gd name="T69" fmla="*/ 29022 h 291"/>
              <a:gd name="T70" fmla="*/ 60057 w 485"/>
              <a:gd name="T71" fmla="*/ 22803 h 291"/>
              <a:gd name="T72" fmla="*/ 62217 w 485"/>
              <a:gd name="T73" fmla="*/ 20212 h 291"/>
              <a:gd name="T74" fmla="*/ 92029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1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38168 w 186"/>
              <a:gd name="T1" fmla="*/ 77319 h 166"/>
              <a:gd name="T2" fmla="*/ 36837 w 186"/>
              <a:gd name="T3" fmla="*/ 71534 h 166"/>
              <a:gd name="T4" fmla="*/ 34618 w 186"/>
              <a:gd name="T5" fmla="*/ 66800 h 166"/>
              <a:gd name="T6" fmla="*/ 32842 w 186"/>
              <a:gd name="T7" fmla="*/ 62066 h 166"/>
              <a:gd name="T8" fmla="*/ 31067 w 186"/>
              <a:gd name="T9" fmla="*/ 57858 h 166"/>
              <a:gd name="T10" fmla="*/ 26629 w 186"/>
              <a:gd name="T11" fmla="*/ 49968 h 166"/>
              <a:gd name="T12" fmla="*/ 21747 w 186"/>
              <a:gd name="T13" fmla="*/ 43131 h 166"/>
              <a:gd name="T14" fmla="*/ 16421 w 186"/>
              <a:gd name="T15" fmla="*/ 36819 h 166"/>
              <a:gd name="T16" fmla="*/ 11095 w 186"/>
              <a:gd name="T17" fmla="*/ 29455 h 166"/>
              <a:gd name="T18" fmla="*/ 5770 w 186"/>
              <a:gd name="T19" fmla="*/ 19987 h 166"/>
              <a:gd name="T20" fmla="*/ 0 w 186"/>
              <a:gd name="T21" fmla="*/ 9468 h 166"/>
              <a:gd name="T22" fmla="*/ 0 w 186"/>
              <a:gd name="T23" fmla="*/ 0 h 166"/>
              <a:gd name="T24" fmla="*/ 3107 w 186"/>
              <a:gd name="T25" fmla="*/ 1052 h 166"/>
              <a:gd name="T26" fmla="*/ 6213 w 186"/>
              <a:gd name="T27" fmla="*/ 1578 h 166"/>
              <a:gd name="T28" fmla="*/ 8876 w 186"/>
              <a:gd name="T29" fmla="*/ 2104 h 166"/>
              <a:gd name="T30" fmla="*/ 11983 w 186"/>
              <a:gd name="T31" fmla="*/ 2104 h 166"/>
              <a:gd name="T32" fmla="*/ 14646 w 186"/>
              <a:gd name="T33" fmla="*/ 2104 h 166"/>
              <a:gd name="T34" fmla="*/ 17753 w 186"/>
              <a:gd name="T35" fmla="*/ 1578 h 166"/>
              <a:gd name="T36" fmla="*/ 20859 w 186"/>
              <a:gd name="T37" fmla="*/ 1052 h 166"/>
              <a:gd name="T38" fmla="*/ 23522 w 186"/>
              <a:gd name="T39" fmla="*/ 0 h 166"/>
              <a:gd name="T40" fmla="*/ 62134 w 186"/>
              <a:gd name="T41" fmla="*/ 6312 h 166"/>
              <a:gd name="T42" fmla="*/ 82550 w 186"/>
              <a:gd name="T43" fmla="*/ 47864 h 166"/>
              <a:gd name="T44" fmla="*/ 75893 w 186"/>
              <a:gd name="T45" fmla="*/ 58910 h 166"/>
              <a:gd name="T46" fmla="*/ 68792 w 186"/>
              <a:gd name="T47" fmla="*/ 67852 h 166"/>
              <a:gd name="T48" fmla="*/ 66129 w 186"/>
              <a:gd name="T49" fmla="*/ 72060 h 166"/>
              <a:gd name="T50" fmla="*/ 63910 w 186"/>
              <a:gd name="T51" fmla="*/ 76267 h 166"/>
              <a:gd name="T52" fmla="*/ 63022 w 186"/>
              <a:gd name="T53" fmla="*/ 78897 h 166"/>
              <a:gd name="T54" fmla="*/ 62578 w 186"/>
              <a:gd name="T55" fmla="*/ 82053 h 166"/>
              <a:gd name="T56" fmla="*/ 62134 w 186"/>
              <a:gd name="T57" fmla="*/ 84683 h 166"/>
              <a:gd name="T58" fmla="*/ 62134 w 186"/>
              <a:gd name="T59" fmla="*/ 87313 h 166"/>
              <a:gd name="T60" fmla="*/ 38168 w 186"/>
              <a:gd name="T61" fmla="*/ 77319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2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67904 w 186"/>
              <a:gd name="T1" fmla="*/ 11540 h 104"/>
              <a:gd name="T2" fmla="*/ 64797 w 186"/>
              <a:gd name="T3" fmla="*/ 11540 h 104"/>
              <a:gd name="T4" fmla="*/ 62578 w 186"/>
              <a:gd name="T5" fmla="*/ 10990 h 104"/>
              <a:gd name="T6" fmla="*/ 60359 w 186"/>
              <a:gd name="T7" fmla="*/ 9891 h 104"/>
              <a:gd name="T8" fmla="*/ 59028 w 186"/>
              <a:gd name="T9" fmla="*/ 8243 h 104"/>
              <a:gd name="T10" fmla="*/ 57696 w 186"/>
              <a:gd name="T11" fmla="*/ 7144 h 104"/>
              <a:gd name="T12" fmla="*/ 55477 w 186"/>
              <a:gd name="T13" fmla="*/ 6045 h 104"/>
              <a:gd name="T14" fmla="*/ 53258 w 186"/>
              <a:gd name="T15" fmla="*/ 5495 h 104"/>
              <a:gd name="T16" fmla="*/ 50151 w 186"/>
              <a:gd name="T17" fmla="*/ 4946 h 104"/>
              <a:gd name="T18" fmla="*/ 44382 w 186"/>
              <a:gd name="T19" fmla="*/ 4396 h 104"/>
              <a:gd name="T20" fmla="*/ 39056 w 186"/>
              <a:gd name="T21" fmla="*/ 3297 h 104"/>
              <a:gd name="T22" fmla="*/ 33286 w 186"/>
              <a:gd name="T23" fmla="*/ 1649 h 104"/>
              <a:gd name="T24" fmla="*/ 28404 w 186"/>
              <a:gd name="T25" fmla="*/ 550 h 104"/>
              <a:gd name="T26" fmla="*/ 26629 w 186"/>
              <a:gd name="T27" fmla="*/ 0 h 104"/>
              <a:gd name="T28" fmla="*/ 23966 w 186"/>
              <a:gd name="T29" fmla="*/ 0 h 104"/>
              <a:gd name="T30" fmla="*/ 22635 w 186"/>
              <a:gd name="T31" fmla="*/ 550 h 104"/>
              <a:gd name="T32" fmla="*/ 20416 w 186"/>
              <a:gd name="T33" fmla="*/ 1099 h 104"/>
              <a:gd name="T34" fmla="*/ 19528 w 186"/>
              <a:gd name="T35" fmla="*/ 2198 h 104"/>
              <a:gd name="T36" fmla="*/ 18640 w 186"/>
              <a:gd name="T37" fmla="*/ 3297 h 104"/>
              <a:gd name="T38" fmla="*/ 18197 w 186"/>
              <a:gd name="T39" fmla="*/ 5495 h 104"/>
              <a:gd name="T40" fmla="*/ 17753 w 186"/>
              <a:gd name="T41" fmla="*/ 8243 h 104"/>
              <a:gd name="T42" fmla="*/ 15090 w 186"/>
              <a:gd name="T43" fmla="*/ 14837 h 104"/>
              <a:gd name="T44" fmla="*/ 8876 w 186"/>
              <a:gd name="T45" fmla="*/ 25827 h 104"/>
              <a:gd name="T46" fmla="*/ 3107 w 186"/>
              <a:gd name="T47" fmla="*/ 36268 h 104"/>
              <a:gd name="T48" fmla="*/ 0 w 186"/>
              <a:gd name="T49" fmla="*/ 42313 h 104"/>
              <a:gd name="T50" fmla="*/ 3551 w 186"/>
              <a:gd name="T51" fmla="*/ 42313 h 104"/>
              <a:gd name="T52" fmla="*/ 7101 w 186"/>
              <a:gd name="T53" fmla="*/ 42862 h 104"/>
              <a:gd name="T54" fmla="*/ 9320 w 186"/>
              <a:gd name="T55" fmla="*/ 43412 h 104"/>
              <a:gd name="T56" fmla="*/ 11095 w 186"/>
              <a:gd name="T57" fmla="*/ 44511 h 104"/>
              <a:gd name="T58" fmla="*/ 14646 w 186"/>
              <a:gd name="T59" fmla="*/ 46709 h 104"/>
              <a:gd name="T60" fmla="*/ 17753 w 186"/>
              <a:gd name="T61" fmla="*/ 48907 h 104"/>
              <a:gd name="T62" fmla="*/ 19972 w 186"/>
              <a:gd name="T63" fmla="*/ 51655 h 104"/>
              <a:gd name="T64" fmla="*/ 23078 w 186"/>
              <a:gd name="T65" fmla="*/ 53853 h 104"/>
              <a:gd name="T66" fmla="*/ 24854 w 186"/>
              <a:gd name="T67" fmla="*/ 54952 h 104"/>
              <a:gd name="T68" fmla="*/ 27073 w 186"/>
              <a:gd name="T69" fmla="*/ 55501 h 104"/>
              <a:gd name="T70" fmla="*/ 29292 w 186"/>
              <a:gd name="T71" fmla="*/ 56051 h 104"/>
              <a:gd name="T72" fmla="*/ 32842 w 186"/>
              <a:gd name="T73" fmla="*/ 56051 h 104"/>
              <a:gd name="T74" fmla="*/ 47488 w 186"/>
              <a:gd name="T75" fmla="*/ 56600 h 104"/>
              <a:gd name="T76" fmla="*/ 58140 w 186"/>
              <a:gd name="T77" fmla="*/ 57150 h 104"/>
              <a:gd name="T78" fmla="*/ 59915 w 186"/>
              <a:gd name="T79" fmla="*/ 56600 h 104"/>
              <a:gd name="T80" fmla="*/ 61691 w 186"/>
              <a:gd name="T81" fmla="*/ 56051 h 104"/>
              <a:gd name="T82" fmla="*/ 63022 w 186"/>
              <a:gd name="T83" fmla="*/ 54952 h 104"/>
              <a:gd name="T84" fmla="*/ 64353 w 186"/>
              <a:gd name="T85" fmla="*/ 53303 h 104"/>
              <a:gd name="T86" fmla="*/ 65241 w 186"/>
              <a:gd name="T87" fmla="*/ 51655 h 104"/>
              <a:gd name="T88" fmla="*/ 66573 w 186"/>
              <a:gd name="T89" fmla="*/ 48358 h 104"/>
              <a:gd name="T90" fmla="*/ 67460 w 186"/>
              <a:gd name="T91" fmla="*/ 45610 h 104"/>
              <a:gd name="T92" fmla="*/ 67904 w 186"/>
              <a:gd name="T93" fmla="*/ 42313 h 104"/>
              <a:gd name="T94" fmla="*/ 82550 w 186"/>
              <a:gd name="T95" fmla="*/ 14837 h 104"/>
              <a:gd name="T96" fmla="*/ 67904 w 186"/>
              <a:gd name="T97" fmla="*/ 11540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3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33873 w 311"/>
              <a:gd name="T1" fmla="*/ 20558 h 179"/>
              <a:gd name="T2" fmla="*/ 49309 w 311"/>
              <a:gd name="T3" fmla="*/ 14066 h 179"/>
              <a:gd name="T4" fmla="*/ 63459 w 311"/>
              <a:gd name="T5" fmla="*/ 7574 h 179"/>
              <a:gd name="T6" fmla="*/ 76323 w 311"/>
              <a:gd name="T7" fmla="*/ 2164 h 179"/>
              <a:gd name="T8" fmla="*/ 90472 w 311"/>
              <a:gd name="T9" fmla="*/ 0 h 179"/>
              <a:gd name="T10" fmla="*/ 101192 w 311"/>
              <a:gd name="T11" fmla="*/ 1082 h 179"/>
              <a:gd name="T12" fmla="*/ 109767 w 311"/>
              <a:gd name="T13" fmla="*/ 3246 h 179"/>
              <a:gd name="T14" fmla="*/ 125203 w 311"/>
              <a:gd name="T15" fmla="*/ 6492 h 179"/>
              <a:gd name="T16" fmla="*/ 123059 w 311"/>
              <a:gd name="T17" fmla="*/ 15148 h 179"/>
              <a:gd name="T18" fmla="*/ 119200 w 311"/>
              <a:gd name="T19" fmla="*/ 22722 h 179"/>
              <a:gd name="T20" fmla="*/ 115341 w 311"/>
              <a:gd name="T21" fmla="*/ 28673 h 179"/>
              <a:gd name="T22" fmla="*/ 113626 w 311"/>
              <a:gd name="T23" fmla="*/ 33542 h 179"/>
              <a:gd name="T24" fmla="*/ 114055 w 311"/>
              <a:gd name="T25" fmla="*/ 35706 h 179"/>
              <a:gd name="T26" fmla="*/ 116199 w 311"/>
              <a:gd name="T27" fmla="*/ 38411 h 179"/>
              <a:gd name="T28" fmla="*/ 122202 w 311"/>
              <a:gd name="T29" fmla="*/ 42739 h 179"/>
              <a:gd name="T30" fmla="*/ 133350 w 311"/>
              <a:gd name="T31" fmla="*/ 50312 h 179"/>
              <a:gd name="T32" fmla="*/ 123059 w 311"/>
              <a:gd name="T33" fmla="*/ 57886 h 179"/>
              <a:gd name="T34" fmla="*/ 120487 w 311"/>
              <a:gd name="T35" fmla="*/ 62214 h 179"/>
              <a:gd name="T36" fmla="*/ 119200 w 311"/>
              <a:gd name="T37" fmla="*/ 69788 h 179"/>
              <a:gd name="T38" fmla="*/ 108052 w 311"/>
              <a:gd name="T39" fmla="*/ 73575 h 179"/>
              <a:gd name="T40" fmla="*/ 90472 w 311"/>
              <a:gd name="T41" fmla="*/ 80067 h 179"/>
              <a:gd name="T42" fmla="*/ 81897 w 311"/>
              <a:gd name="T43" fmla="*/ 90887 h 179"/>
              <a:gd name="T44" fmla="*/ 76323 w 311"/>
              <a:gd name="T45" fmla="*/ 95215 h 179"/>
              <a:gd name="T46" fmla="*/ 70748 w 311"/>
              <a:gd name="T47" fmla="*/ 96838 h 179"/>
              <a:gd name="T48" fmla="*/ 64745 w 311"/>
              <a:gd name="T49" fmla="*/ 94674 h 179"/>
              <a:gd name="T50" fmla="*/ 58743 w 311"/>
              <a:gd name="T51" fmla="*/ 90346 h 179"/>
              <a:gd name="T52" fmla="*/ 51453 w 311"/>
              <a:gd name="T53" fmla="*/ 85477 h 179"/>
              <a:gd name="T54" fmla="*/ 42020 w 311"/>
              <a:gd name="T55" fmla="*/ 83854 h 179"/>
              <a:gd name="T56" fmla="*/ 28299 w 311"/>
              <a:gd name="T57" fmla="*/ 83854 h 179"/>
              <a:gd name="T58" fmla="*/ 21868 w 311"/>
              <a:gd name="T59" fmla="*/ 84936 h 179"/>
              <a:gd name="T60" fmla="*/ 16722 w 311"/>
              <a:gd name="T61" fmla="*/ 87100 h 179"/>
              <a:gd name="T62" fmla="*/ 15436 w 311"/>
              <a:gd name="T63" fmla="*/ 76821 h 179"/>
              <a:gd name="T64" fmla="*/ 13721 w 311"/>
              <a:gd name="T65" fmla="*/ 66542 h 179"/>
              <a:gd name="T66" fmla="*/ 9004 w 311"/>
              <a:gd name="T67" fmla="*/ 69247 h 179"/>
              <a:gd name="T68" fmla="*/ 5574 w 311"/>
              <a:gd name="T69" fmla="*/ 69788 h 179"/>
              <a:gd name="T70" fmla="*/ 3001 w 311"/>
              <a:gd name="T71" fmla="*/ 68165 h 179"/>
              <a:gd name="T72" fmla="*/ 1286 w 311"/>
              <a:gd name="T73" fmla="*/ 65460 h 179"/>
              <a:gd name="T74" fmla="*/ 0 w 311"/>
              <a:gd name="T75" fmla="*/ 56804 h 179"/>
              <a:gd name="T76" fmla="*/ 0 w 311"/>
              <a:gd name="T77" fmla="*/ 47067 h 179"/>
              <a:gd name="T78" fmla="*/ 1286 w 311"/>
              <a:gd name="T79" fmla="*/ 44362 h 179"/>
              <a:gd name="T80" fmla="*/ 5574 w 311"/>
              <a:gd name="T81" fmla="*/ 42198 h 179"/>
              <a:gd name="T82" fmla="*/ 9004 w 311"/>
              <a:gd name="T83" fmla="*/ 38952 h 179"/>
              <a:gd name="T84" fmla="*/ 10719 w 311"/>
              <a:gd name="T85" fmla="*/ 36788 h 179"/>
              <a:gd name="T86" fmla="*/ 11148 w 311"/>
              <a:gd name="T87" fmla="*/ 33542 h 179"/>
              <a:gd name="T88" fmla="*/ 10291 w 311"/>
              <a:gd name="T89" fmla="*/ 27591 h 179"/>
              <a:gd name="T90" fmla="*/ 8147 w 311"/>
              <a:gd name="T91" fmla="*/ 23263 h 179"/>
              <a:gd name="T92" fmla="*/ 3430 w 311"/>
              <a:gd name="T93" fmla="*/ 15689 h 179"/>
              <a:gd name="T94" fmla="*/ 429 w 311"/>
              <a:gd name="T95" fmla="*/ 9738 h 179"/>
              <a:gd name="T96" fmla="*/ 429 w 311"/>
              <a:gd name="T97" fmla="*/ 7033 h 179"/>
              <a:gd name="T98" fmla="*/ 2573 w 311"/>
              <a:gd name="T99" fmla="*/ 3246 h 179"/>
              <a:gd name="T100" fmla="*/ 0 w 311"/>
              <a:gd name="T101" fmla="*/ 3246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4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2634 w 405"/>
              <a:gd name="T1" fmla="*/ 136707 h 314"/>
              <a:gd name="T2" fmla="*/ 5707 w 405"/>
              <a:gd name="T3" fmla="*/ 124614 h 314"/>
              <a:gd name="T4" fmla="*/ 7463 w 405"/>
              <a:gd name="T5" fmla="*/ 106211 h 314"/>
              <a:gd name="T6" fmla="*/ 10097 w 405"/>
              <a:gd name="T7" fmla="*/ 90963 h 314"/>
              <a:gd name="T8" fmla="*/ 14048 w 405"/>
              <a:gd name="T9" fmla="*/ 85179 h 314"/>
              <a:gd name="T10" fmla="*/ 21073 w 405"/>
              <a:gd name="T11" fmla="*/ 78869 h 314"/>
              <a:gd name="T12" fmla="*/ 31609 w 405"/>
              <a:gd name="T13" fmla="*/ 74137 h 314"/>
              <a:gd name="T14" fmla="*/ 40828 w 405"/>
              <a:gd name="T15" fmla="*/ 70457 h 314"/>
              <a:gd name="T16" fmla="*/ 45657 w 405"/>
              <a:gd name="T17" fmla="*/ 65725 h 314"/>
              <a:gd name="T18" fmla="*/ 49608 w 405"/>
              <a:gd name="T19" fmla="*/ 59941 h 314"/>
              <a:gd name="T20" fmla="*/ 53999 w 405"/>
              <a:gd name="T21" fmla="*/ 48899 h 314"/>
              <a:gd name="T22" fmla="*/ 59706 w 405"/>
              <a:gd name="T23" fmla="*/ 36280 h 314"/>
              <a:gd name="T24" fmla="*/ 64535 w 405"/>
              <a:gd name="T25" fmla="*/ 28919 h 314"/>
              <a:gd name="T26" fmla="*/ 68047 w 405"/>
              <a:gd name="T27" fmla="*/ 26816 h 314"/>
              <a:gd name="T28" fmla="*/ 74632 w 405"/>
              <a:gd name="T29" fmla="*/ 26816 h 314"/>
              <a:gd name="T30" fmla="*/ 82973 w 405"/>
              <a:gd name="T31" fmla="*/ 25238 h 314"/>
              <a:gd name="T32" fmla="*/ 93510 w 405"/>
              <a:gd name="T33" fmla="*/ 18403 h 314"/>
              <a:gd name="T34" fmla="*/ 104046 w 405"/>
              <a:gd name="T35" fmla="*/ 10516 h 314"/>
              <a:gd name="T36" fmla="*/ 112826 w 405"/>
              <a:gd name="T37" fmla="*/ 5784 h 314"/>
              <a:gd name="T38" fmla="*/ 123801 w 405"/>
              <a:gd name="T39" fmla="*/ 2103 h 314"/>
              <a:gd name="T40" fmla="*/ 137850 w 405"/>
              <a:gd name="T41" fmla="*/ 0 h 314"/>
              <a:gd name="T42" fmla="*/ 145752 w 405"/>
              <a:gd name="T43" fmla="*/ 7361 h 314"/>
              <a:gd name="T44" fmla="*/ 147947 w 405"/>
              <a:gd name="T45" fmla="*/ 17877 h 314"/>
              <a:gd name="T46" fmla="*/ 150581 w 405"/>
              <a:gd name="T47" fmla="*/ 26290 h 314"/>
              <a:gd name="T48" fmla="*/ 154532 w 405"/>
              <a:gd name="T49" fmla="*/ 32599 h 314"/>
              <a:gd name="T50" fmla="*/ 161557 w 405"/>
              <a:gd name="T51" fmla="*/ 38909 h 314"/>
              <a:gd name="T52" fmla="*/ 167703 w 405"/>
              <a:gd name="T53" fmla="*/ 44693 h 314"/>
              <a:gd name="T54" fmla="*/ 171215 w 405"/>
              <a:gd name="T55" fmla="*/ 48899 h 314"/>
              <a:gd name="T56" fmla="*/ 173849 w 405"/>
              <a:gd name="T57" fmla="*/ 60467 h 314"/>
              <a:gd name="T58" fmla="*/ 174727 w 405"/>
              <a:gd name="T59" fmla="*/ 75189 h 314"/>
              <a:gd name="T60" fmla="*/ 174727 w 405"/>
              <a:gd name="T61" fmla="*/ 89385 h 314"/>
              <a:gd name="T62" fmla="*/ 176483 w 405"/>
              <a:gd name="T63" fmla="*/ 103056 h 314"/>
              <a:gd name="T64" fmla="*/ 174727 w 405"/>
              <a:gd name="T65" fmla="*/ 114098 h 314"/>
              <a:gd name="T66" fmla="*/ 167703 w 405"/>
              <a:gd name="T67" fmla="*/ 118830 h 314"/>
              <a:gd name="T68" fmla="*/ 160240 w 405"/>
              <a:gd name="T69" fmla="*/ 126717 h 314"/>
              <a:gd name="T70" fmla="*/ 159361 w 405"/>
              <a:gd name="T71" fmla="*/ 124614 h 314"/>
              <a:gd name="T72" fmla="*/ 157166 w 405"/>
              <a:gd name="T73" fmla="*/ 122511 h 314"/>
              <a:gd name="T74" fmla="*/ 150142 w 405"/>
              <a:gd name="T75" fmla="*/ 119356 h 314"/>
              <a:gd name="T76" fmla="*/ 140045 w 405"/>
              <a:gd name="T77" fmla="*/ 117253 h 314"/>
              <a:gd name="T78" fmla="*/ 66730 w 405"/>
              <a:gd name="T79" fmla="*/ 126717 h 314"/>
              <a:gd name="T80" fmla="*/ 65852 w 405"/>
              <a:gd name="T81" fmla="*/ 135130 h 314"/>
              <a:gd name="T82" fmla="*/ 65852 w 405"/>
              <a:gd name="T83" fmla="*/ 144068 h 314"/>
              <a:gd name="T84" fmla="*/ 66730 w 405"/>
              <a:gd name="T85" fmla="*/ 165100 h 314"/>
              <a:gd name="T86" fmla="*/ 61023 w 405"/>
              <a:gd name="T87" fmla="*/ 164048 h 314"/>
              <a:gd name="T88" fmla="*/ 55316 w 405"/>
              <a:gd name="T89" fmla="*/ 160368 h 314"/>
              <a:gd name="T90" fmla="*/ 43901 w 405"/>
              <a:gd name="T91" fmla="*/ 152481 h 314"/>
              <a:gd name="T92" fmla="*/ 39072 w 405"/>
              <a:gd name="T93" fmla="*/ 161419 h 314"/>
              <a:gd name="T94" fmla="*/ 35999 w 405"/>
              <a:gd name="T95" fmla="*/ 164048 h 314"/>
              <a:gd name="T96" fmla="*/ 32048 w 405"/>
              <a:gd name="T97" fmla="*/ 165100 h 314"/>
              <a:gd name="T98" fmla="*/ 26341 w 405"/>
              <a:gd name="T99" fmla="*/ 163523 h 314"/>
              <a:gd name="T100" fmla="*/ 20634 w 405"/>
              <a:gd name="T101" fmla="*/ 158790 h 314"/>
              <a:gd name="T102" fmla="*/ 12292 w 405"/>
              <a:gd name="T103" fmla="*/ 153007 h 314"/>
              <a:gd name="T104" fmla="*/ 0 w 405"/>
              <a:gd name="T105" fmla="*/ 149326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5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143225 w 453"/>
              <a:gd name="T1" fmla="*/ 19021 h 661"/>
              <a:gd name="T2" fmla="*/ 137240 w 453"/>
              <a:gd name="T3" fmla="*/ 51780 h 661"/>
              <a:gd name="T4" fmla="*/ 118428 w 453"/>
              <a:gd name="T5" fmla="*/ 85595 h 661"/>
              <a:gd name="T6" fmla="*/ 108167 w 453"/>
              <a:gd name="T7" fmla="*/ 115712 h 661"/>
              <a:gd name="T8" fmla="*/ 99189 w 453"/>
              <a:gd name="T9" fmla="*/ 143716 h 661"/>
              <a:gd name="T10" fmla="*/ 89356 w 453"/>
              <a:gd name="T11" fmla="*/ 173832 h 661"/>
              <a:gd name="T12" fmla="*/ 83798 w 453"/>
              <a:gd name="T13" fmla="*/ 191269 h 661"/>
              <a:gd name="T14" fmla="*/ 76957 w 453"/>
              <a:gd name="T15" fmla="*/ 200779 h 661"/>
              <a:gd name="T16" fmla="*/ 71399 w 453"/>
              <a:gd name="T17" fmla="*/ 206063 h 661"/>
              <a:gd name="T18" fmla="*/ 60283 w 453"/>
              <a:gd name="T19" fmla="*/ 201836 h 661"/>
              <a:gd name="T20" fmla="*/ 51732 w 453"/>
              <a:gd name="T21" fmla="*/ 195495 h 661"/>
              <a:gd name="T22" fmla="*/ 40189 w 453"/>
              <a:gd name="T23" fmla="*/ 193910 h 661"/>
              <a:gd name="T24" fmla="*/ 27362 w 453"/>
              <a:gd name="T25" fmla="*/ 200779 h 661"/>
              <a:gd name="T26" fmla="*/ 18812 w 453"/>
              <a:gd name="T27" fmla="*/ 212932 h 661"/>
              <a:gd name="T28" fmla="*/ 8978 w 453"/>
              <a:gd name="T29" fmla="*/ 239878 h 661"/>
              <a:gd name="T30" fmla="*/ 2993 w 453"/>
              <a:gd name="T31" fmla="*/ 254672 h 661"/>
              <a:gd name="T32" fmla="*/ 428 w 453"/>
              <a:gd name="T33" fmla="*/ 264183 h 661"/>
              <a:gd name="T34" fmla="*/ 3420 w 453"/>
              <a:gd name="T35" fmla="*/ 273165 h 661"/>
              <a:gd name="T36" fmla="*/ 8551 w 453"/>
              <a:gd name="T37" fmla="*/ 277921 h 661"/>
              <a:gd name="T38" fmla="*/ 23515 w 453"/>
              <a:gd name="T39" fmla="*/ 277921 h 661"/>
              <a:gd name="T40" fmla="*/ 30355 w 453"/>
              <a:gd name="T41" fmla="*/ 289545 h 661"/>
              <a:gd name="T42" fmla="*/ 31210 w 453"/>
              <a:gd name="T43" fmla="*/ 311736 h 661"/>
              <a:gd name="T44" fmla="*/ 28645 w 453"/>
              <a:gd name="T45" fmla="*/ 332871 h 661"/>
              <a:gd name="T46" fmla="*/ 185124 w 453"/>
              <a:gd name="T47" fmla="*/ 349250 h 661"/>
              <a:gd name="T48" fmla="*/ 188972 w 453"/>
              <a:gd name="T49" fmla="*/ 307509 h 661"/>
              <a:gd name="T50" fmla="*/ 177429 w 453"/>
              <a:gd name="T51" fmla="*/ 300112 h 661"/>
              <a:gd name="T52" fmla="*/ 159472 w 453"/>
              <a:gd name="T53" fmla="*/ 294300 h 661"/>
              <a:gd name="T54" fmla="*/ 150921 w 453"/>
              <a:gd name="T55" fmla="*/ 290073 h 661"/>
              <a:gd name="T56" fmla="*/ 145363 w 453"/>
              <a:gd name="T57" fmla="*/ 283733 h 661"/>
              <a:gd name="T58" fmla="*/ 142370 w 453"/>
              <a:gd name="T59" fmla="*/ 272109 h 661"/>
              <a:gd name="T60" fmla="*/ 142370 w 453"/>
              <a:gd name="T61" fmla="*/ 245162 h 661"/>
              <a:gd name="T62" fmla="*/ 144081 w 453"/>
              <a:gd name="T63" fmla="*/ 226141 h 661"/>
              <a:gd name="T64" fmla="*/ 150066 w 453"/>
              <a:gd name="T65" fmla="*/ 209761 h 661"/>
              <a:gd name="T66" fmla="*/ 159472 w 453"/>
              <a:gd name="T67" fmla="*/ 192325 h 661"/>
              <a:gd name="T68" fmla="*/ 167595 w 453"/>
              <a:gd name="T69" fmla="*/ 174361 h 661"/>
              <a:gd name="T70" fmla="*/ 170588 w 453"/>
              <a:gd name="T71" fmla="*/ 156925 h 661"/>
              <a:gd name="T72" fmla="*/ 166313 w 453"/>
              <a:gd name="T73" fmla="*/ 141074 h 661"/>
              <a:gd name="T74" fmla="*/ 159472 w 453"/>
              <a:gd name="T75" fmla="*/ 129978 h 661"/>
              <a:gd name="T76" fmla="*/ 146646 w 453"/>
              <a:gd name="T77" fmla="*/ 114655 h 661"/>
              <a:gd name="T78" fmla="*/ 142370 w 453"/>
              <a:gd name="T79" fmla="*/ 101446 h 661"/>
              <a:gd name="T80" fmla="*/ 143225 w 453"/>
              <a:gd name="T81" fmla="*/ 91407 h 661"/>
              <a:gd name="T82" fmla="*/ 150921 w 453"/>
              <a:gd name="T83" fmla="*/ 86652 h 661"/>
              <a:gd name="T84" fmla="*/ 173581 w 453"/>
              <a:gd name="T85" fmla="*/ 85595 h 661"/>
              <a:gd name="T86" fmla="*/ 168878 w 453"/>
              <a:gd name="T87" fmla="*/ 79783 h 661"/>
              <a:gd name="T88" fmla="*/ 162037 w 453"/>
              <a:gd name="T89" fmla="*/ 61819 h 661"/>
              <a:gd name="T90" fmla="*/ 158617 w 453"/>
              <a:gd name="T91" fmla="*/ 38571 h 661"/>
              <a:gd name="T92" fmla="*/ 159472 w 453"/>
              <a:gd name="T93" fmla="*/ 23776 h 661"/>
              <a:gd name="T94" fmla="*/ 156907 w 453"/>
              <a:gd name="T95" fmla="*/ 5812 h 661"/>
              <a:gd name="T96" fmla="*/ 148356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6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30480 h 105"/>
              <a:gd name="T2" fmla="*/ 1764 w 126"/>
              <a:gd name="T3" fmla="*/ 26670 h 105"/>
              <a:gd name="T4" fmla="*/ 4410 w 126"/>
              <a:gd name="T5" fmla="*/ 22316 h 105"/>
              <a:gd name="T6" fmla="*/ 7056 w 126"/>
              <a:gd name="T7" fmla="*/ 17961 h 105"/>
              <a:gd name="T8" fmla="*/ 10583 w 126"/>
              <a:gd name="T9" fmla="*/ 13607 h 105"/>
              <a:gd name="T10" fmla="*/ 16316 w 126"/>
              <a:gd name="T11" fmla="*/ 5987 h 105"/>
              <a:gd name="T12" fmla="*/ 20726 w 126"/>
              <a:gd name="T13" fmla="*/ 0 h 105"/>
              <a:gd name="T14" fmla="*/ 49830 w 126"/>
              <a:gd name="T15" fmla="*/ 0 h 105"/>
              <a:gd name="T16" fmla="*/ 50271 w 126"/>
              <a:gd name="T17" fmla="*/ 2177 h 105"/>
              <a:gd name="T18" fmla="*/ 50712 w 126"/>
              <a:gd name="T19" fmla="*/ 4354 h 105"/>
              <a:gd name="T20" fmla="*/ 51594 w 126"/>
              <a:gd name="T21" fmla="*/ 6531 h 105"/>
              <a:gd name="T22" fmla="*/ 52476 w 126"/>
              <a:gd name="T23" fmla="*/ 7620 h 105"/>
              <a:gd name="T24" fmla="*/ 54681 w 126"/>
              <a:gd name="T25" fmla="*/ 10886 h 105"/>
              <a:gd name="T26" fmla="*/ 55563 w 126"/>
              <a:gd name="T27" fmla="*/ 13063 h 105"/>
              <a:gd name="T28" fmla="*/ 55563 w 126"/>
              <a:gd name="T29" fmla="*/ 17417 h 105"/>
              <a:gd name="T30" fmla="*/ 55122 w 126"/>
              <a:gd name="T31" fmla="*/ 22316 h 105"/>
              <a:gd name="T32" fmla="*/ 54681 w 126"/>
              <a:gd name="T33" fmla="*/ 26126 h 105"/>
              <a:gd name="T34" fmla="*/ 53799 w 126"/>
              <a:gd name="T35" fmla="*/ 29936 h 105"/>
              <a:gd name="T36" fmla="*/ 52476 w 126"/>
              <a:gd name="T37" fmla="*/ 33746 h 105"/>
              <a:gd name="T38" fmla="*/ 51153 w 126"/>
              <a:gd name="T39" fmla="*/ 37556 h 105"/>
              <a:gd name="T40" fmla="*/ 49389 w 126"/>
              <a:gd name="T41" fmla="*/ 40821 h 105"/>
              <a:gd name="T42" fmla="*/ 47625 w 126"/>
              <a:gd name="T43" fmla="*/ 44087 h 105"/>
              <a:gd name="T44" fmla="*/ 45862 w 126"/>
              <a:gd name="T45" fmla="*/ 46809 h 105"/>
              <a:gd name="T46" fmla="*/ 43657 w 126"/>
              <a:gd name="T47" fmla="*/ 48986 h 105"/>
              <a:gd name="T48" fmla="*/ 41011 w 126"/>
              <a:gd name="T49" fmla="*/ 51163 h 105"/>
              <a:gd name="T50" fmla="*/ 38806 w 126"/>
              <a:gd name="T51" fmla="*/ 53884 h 105"/>
              <a:gd name="T52" fmla="*/ 35719 w 126"/>
              <a:gd name="T53" fmla="*/ 54973 h 105"/>
              <a:gd name="T54" fmla="*/ 32632 w 126"/>
              <a:gd name="T55" fmla="*/ 56061 h 105"/>
              <a:gd name="T56" fmla="*/ 29545 w 126"/>
              <a:gd name="T57" fmla="*/ 57150 h 105"/>
              <a:gd name="T58" fmla="*/ 26459 w 126"/>
              <a:gd name="T59" fmla="*/ 57150 h 105"/>
              <a:gd name="T60" fmla="*/ 21167 w 126"/>
              <a:gd name="T61" fmla="*/ 56606 h 105"/>
              <a:gd name="T62" fmla="*/ 16757 w 126"/>
              <a:gd name="T63" fmla="*/ 55517 h 105"/>
              <a:gd name="T64" fmla="*/ 13670 w 126"/>
              <a:gd name="T65" fmla="*/ 53340 h 105"/>
              <a:gd name="T66" fmla="*/ 10583 w 126"/>
              <a:gd name="T67" fmla="*/ 50074 h 105"/>
              <a:gd name="T68" fmla="*/ 8820 w 126"/>
              <a:gd name="T69" fmla="*/ 46809 h 105"/>
              <a:gd name="T70" fmla="*/ 7056 w 126"/>
              <a:gd name="T71" fmla="*/ 42454 h 105"/>
              <a:gd name="T72" fmla="*/ 6174 w 126"/>
              <a:gd name="T73" fmla="*/ 38100 h 105"/>
              <a:gd name="T74" fmla="*/ 5733 w 126"/>
              <a:gd name="T75" fmla="*/ 33746 h 105"/>
              <a:gd name="T76" fmla="*/ 0 w 126"/>
              <a:gd name="T77" fmla="*/ 30480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7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292778 w 684"/>
              <a:gd name="T1" fmla="*/ 300782 h 998"/>
              <a:gd name="T2" fmla="*/ 296705 w 684"/>
              <a:gd name="T3" fmla="*/ 288709 h 998"/>
              <a:gd name="T4" fmla="*/ 292778 w 684"/>
              <a:gd name="T5" fmla="*/ 257738 h 998"/>
              <a:gd name="T6" fmla="*/ 287542 w 684"/>
              <a:gd name="T7" fmla="*/ 222043 h 998"/>
              <a:gd name="T8" fmla="*/ 295832 w 684"/>
              <a:gd name="T9" fmla="*/ 204196 h 998"/>
              <a:gd name="T10" fmla="*/ 243036 w 684"/>
              <a:gd name="T11" fmla="*/ 189498 h 998"/>
              <a:gd name="T12" fmla="*/ 232564 w 684"/>
              <a:gd name="T13" fmla="*/ 171126 h 998"/>
              <a:gd name="T14" fmla="*/ 201585 w 684"/>
              <a:gd name="T15" fmla="*/ 162727 h 998"/>
              <a:gd name="T16" fmla="*/ 175405 w 684"/>
              <a:gd name="T17" fmla="*/ 141730 h 998"/>
              <a:gd name="T18" fmla="*/ 163624 w 684"/>
              <a:gd name="T19" fmla="*/ 105510 h 998"/>
              <a:gd name="T20" fmla="*/ 163624 w 684"/>
              <a:gd name="T21" fmla="*/ 69815 h 998"/>
              <a:gd name="T22" fmla="*/ 172351 w 684"/>
              <a:gd name="T23" fmla="*/ 44094 h 998"/>
              <a:gd name="T24" fmla="*/ 189804 w 684"/>
              <a:gd name="T25" fmla="*/ 25196 h 998"/>
              <a:gd name="T26" fmla="*/ 202021 w 684"/>
              <a:gd name="T27" fmla="*/ 5774 h 998"/>
              <a:gd name="T28" fmla="*/ 169733 w 684"/>
              <a:gd name="T29" fmla="*/ 20472 h 998"/>
              <a:gd name="T30" fmla="*/ 146171 w 684"/>
              <a:gd name="T31" fmla="*/ 35695 h 998"/>
              <a:gd name="T32" fmla="*/ 132644 w 684"/>
              <a:gd name="T33" fmla="*/ 40944 h 998"/>
              <a:gd name="T34" fmla="*/ 121300 w 684"/>
              <a:gd name="T35" fmla="*/ 44094 h 998"/>
              <a:gd name="T36" fmla="*/ 105156 w 684"/>
              <a:gd name="T37" fmla="*/ 42519 h 998"/>
              <a:gd name="T38" fmla="*/ 94684 w 684"/>
              <a:gd name="T39" fmla="*/ 56692 h 998"/>
              <a:gd name="T40" fmla="*/ 85521 w 684"/>
              <a:gd name="T41" fmla="*/ 91862 h 998"/>
              <a:gd name="T42" fmla="*/ 68504 w 684"/>
              <a:gd name="T43" fmla="*/ 119158 h 998"/>
              <a:gd name="T44" fmla="*/ 46687 w 684"/>
              <a:gd name="T45" fmla="*/ 149079 h 998"/>
              <a:gd name="T46" fmla="*/ 39270 w 684"/>
              <a:gd name="T47" fmla="*/ 166401 h 998"/>
              <a:gd name="T48" fmla="*/ 37524 w 684"/>
              <a:gd name="T49" fmla="*/ 186873 h 998"/>
              <a:gd name="T50" fmla="*/ 42324 w 684"/>
              <a:gd name="T51" fmla="*/ 200521 h 998"/>
              <a:gd name="T52" fmla="*/ 42324 w 684"/>
              <a:gd name="T53" fmla="*/ 236741 h 998"/>
              <a:gd name="T54" fmla="*/ 41451 w 684"/>
              <a:gd name="T55" fmla="*/ 275586 h 998"/>
              <a:gd name="T56" fmla="*/ 31416 w 684"/>
              <a:gd name="T57" fmla="*/ 295533 h 998"/>
              <a:gd name="T58" fmla="*/ 16144 w 684"/>
              <a:gd name="T59" fmla="*/ 310756 h 998"/>
              <a:gd name="T60" fmla="*/ 4800 w 684"/>
              <a:gd name="T61" fmla="*/ 321254 h 998"/>
              <a:gd name="T62" fmla="*/ 13090 w 684"/>
              <a:gd name="T63" fmla="*/ 350650 h 998"/>
              <a:gd name="T64" fmla="*/ 53669 w 684"/>
              <a:gd name="T65" fmla="*/ 380571 h 998"/>
              <a:gd name="T66" fmla="*/ 76358 w 684"/>
              <a:gd name="T67" fmla="*/ 382145 h 998"/>
              <a:gd name="T68" fmla="*/ 102101 w 684"/>
              <a:gd name="T69" fmla="*/ 391594 h 998"/>
              <a:gd name="T70" fmla="*/ 130463 w 684"/>
              <a:gd name="T71" fmla="*/ 417315 h 998"/>
              <a:gd name="T72" fmla="*/ 147043 w 684"/>
              <a:gd name="T73" fmla="*/ 446186 h 998"/>
              <a:gd name="T74" fmla="*/ 160133 w 684"/>
              <a:gd name="T75" fmla="*/ 462459 h 998"/>
              <a:gd name="T76" fmla="*/ 179768 w 684"/>
              <a:gd name="T77" fmla="*/ 465083 h 998"/>
              <a:gd name="T78" fmla="*/ 201585 w 684"/>
              <a:gd name="T79" fmla="*/ 459834 h 998"/>
              <a:gd name="T80" fmla="*/ 214675 w 684"/>
              <a:gd name="T81" fmla="*/ 460884 h 998"/>
              <a:gd name="T82" fmla="*/ 224710 w 684"/>
              <a:gd name="T83" fmla="*/ 474532 h 998"/>
              <a:gd name="T84" fmla="*/ 223838 w 684"/>
              <a:gd name="T85" fmla="*/ 483981 h 998"/>
              <a:gd name="T86" fmla="*/ 212929 w 684"/>
              <a:gd name="T87" fmla="*/ 491855 h 998"/>
              <a:gd name="T88" fmla="*/ 212929 w 684"/>
              <a:gd name="T89" fmla="*/ 505503 h 998"/>
              <a:gd name="T90" fmla="*/ 222965 w 684"/>
              <a:gd name="T91" fmla="*/ 521775 h 998"/>
              <a:gd name="T92" fmla="*/ 236491 w 684"/>
              <a:gd name="T93" fmla="*/ 504978 h 998"/>
              <a:gd name="T94" fmla="*/ 246963 w 684"/>
              <a:gd name="T95" fmla="*/ 451960 h 998"/>
              <a:gd name="T96" fmla="*/ 249145 w 684"/>
              <a:gd name="T97" fmla="*/ 421515 h 998"/>
              <a:gd name="T98" fmla="*/ 242163 w 684"/>
              <a:gd name="T99" fmla="*/ 404717 h 998"/>
              <a:gd name="T100" fmla="*/ 228201 w 684"/>
              <a:gd name="T101" fmla="*/ 393169 h 998"/>
              <a:gd name="T102" fmla="*/ 227328 w 684"/>
              <a:gd name="T103" fmla="*/ 379521 h 998"/>
              <a:gd name="T104" fmla="*/ 246963 w 684"/>
              <a:gd name="T105" fmla="*/ 367447 h 998"/>
              <a:gd name="T106" fmla="*/ 242600 w 684"/>
              <a:gd name="T107" fmla="*/ 349075 h 998"/>
              <a:gd name="T108" fmla="*/ 242600 w 684"/>
              <a:gd name="T109" fmla="*/ 340676 h 998"/>
              <a:gd name="T110" fmla="*/ 285796 w 684"/>
              <a:gd name="T111" fmla="*/ 329653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38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187325 w 429"/>
              <a:gd name="T1" fmla="*/ 11531 h 524"/>
              <a:gd name="T2" fmla="*/ 186888 w 429"/>
              <a:gd name="T3" fmla="*/ 22537 h 524"/>
              <a:gd name="T4" fmla="*/ 185142 w 429"/>
              <a:gd name="T5" fmla="*/ 28302 h 524"/>
              <a:gd name="T6" fmla="*/ 181212 w 429"/>
              <a:gd name="T7" fmla="*/ 35116 h 524"/>
              <a:gd name="T8" fmla="*/ 180339 w 429"/>
              <a:gd name="T9" fmla="*/ 42454 h 524"/>
              <a:gd name="T10" fmla="*/ 180775 w 429"/>
              <a:gd name="T11" fmla="*/ 83859 h 524"/>
              <a:gd name="T12" fmla="*/ 178155 w 429"/>
              <a:gd name="T13" fmla="*/ 108492 h 524"/>
              <a:gd name="T14" fmla="*/ 172915 w 429"/>
              <a:gd name="T15" fmla="*/ 126313 h 524"/>
              <a:gd name="T16" fmla="*/ 162436 w 429"/>
              <a:gd name="T17" fmla="*/ 145705 h 524"/>
              <a:gd name="T18" fmla="*/ 147589 w 429"/>
              <a:gd name="T19" fmla="*/ 161953 h 524"/>
              <a:gd name="T20" fmla="*/ 139293 w 429"/>
              <a:gd name="T21" fmla="*/ 174531 h 524"/>
              <a:gd name="T22" fmla="*/ 136236 w 429"/>
              <a:gd name="T23" fmla="*/ 215937 h 524"/>
              <a:gd name="T24" fmla="*/ 132743 w 429"/>
              <a:gd name="T25" fmla="*/ 230088 h 524"/>
              <a:gd name="T26" fmla="*/ 126630 w 429"/>
              <a:gd name="T27" fmla="*/ 234805 h 524"/>
              <a:gd name="T28" fmla="*/ 117460 w 429"/>
              <a:gd name="T29" fmla="*/ 238474 h 524"/>
              <a:gd name="T30" fmla="*/ 110474 w 429"/>
              <a:gd name="T31" fmla="*/ 247384 h 524"/>
              <a:gd name="T32" fmla="*/ 102177 w 429"/>
              <a:gd name="T33" fmla="*/ 262059 h 524"/>
              <a:gd name="T34" fmla="*/ 97374 w 429"/>
              <a:gd name="T35" fmla="*/ 264680 h 524"/>
              <a:gd name="T36" fmla="*/ 87768 w 429"/>
              <a:gd name="T37" fmla="*/ 264156 h 524"/>
              <a:gd name="T38" fmla="*/ 82528 w 429"/>
              <a:gd name="T39" fmla="*/ 261011 h 524"/>
              <a:gd name="T40" fmla="*/ 63315 w 429"/>
              <a:gd name="T41" fmla="*/ 262059 h 524"/>
              <a:gd name="T42" fmla="*/ 53709 w 429"/>
              <a:gd name="T43" fmla="*/ 262059 h 524"/>
              <a:gd name="T44" fmla="*/ 49342 w 429"/>
              <a:gd name="T45" fmla="*/ 258914 h 524"/>
              <a:gd name="T46" fmla="*/ 41482 w 429"/>
              <a:gd name="T47" fmla="*/ 258390 h 524"/>
              <a:gd name="T48" fmla="*/ 34059 w 429"/>
              <a:gd name="T49" fmla="*/ 263107 h 524"/>
              <a:gd name="T50" fmla="*/ 27073 w 429"/>
              <a:gd name="T51" fmla="*/ 272017 h 524"/>
              <a:gd name="T52" fmla="*/ 11790 w 429"/>
              <a:gd name="T53" fmla="*/ 257342 h 524"/>
              <a:gd name="T54" fmla="*/ 2620 w 429"/>
              <a:gd name="T55" fmla="*/ 234281 h 524"/>
              <a:gd name="T56" fmla="*/ 10916 w 429"/>
              <a:gd name="T57" fmla="*/ 225371 h 524"/>
              <a:gd name="T58" fmla="*/ 18340 w 429"/>
              <a:gd name="T59" fmla="*/ 222226 h 524"/>
              <a:gd name="T60" fmla="*/ 26636 w 429"/>
              <a:gd name="T61" fmla="*/ 224323 h 524"/>
              <a:gd name="T62" fmla="*/ 25326 w 429"/>
              <a:gd name="T63" fmla="*/ 219081 h 524"/>
              <a:gd name="T64" fmla="*/ 19649 w 429"/>
              <a:gd name="T65" fmla="*/ 202310 h 524"/>
              <a:gd name="T66" fmla="*/ 20523 w 429"/>
              <a:gd name="T67" fmla="*/ 191827 h 524"/>
              <a:gd name="T68" fmla="*/ 24889 w 429"/>
              <a:gd name="T69" fmla="*/ 186586 h 524"/>
              <a:gd name="T70" fmla="*/ 31003 w 429"/>
              <a:gd name="T71" fmla="*/ 184490 h 524"/>
              <a:gd name="T72" fmla="*/ 38862 w 429"/>
              <a:gd name="T73" fmla="*/ 176628 h 524"/>
              <a:gd name="T74" fmla="*/ 45412 w 429"/>
              <a:gd name="T75" fmla="*/ 174531 h 524"/>
              <a:gd name="T76" fmla="*/ 50215 w 429"/>
              <a:gd name="T77" fmla="*/ 179248 h 524"/>
              <a:gd name="T78" fmla="*/ 58948 w 429"/>
              <a:gd name="T79" fmla="*/ 188158 h 524"/>
              <a:gd name="T80" fmla="*/ 67245 w 429"/>
              <a:gd name="T81" fmla="*/ 183966 h 524"/>
              <a:gd name="T82" fmla="*/ 79035 w 429"/>
              <a:gd name="T83" fmla="*/ 185014 h 524"/>
              <a:gd name="T84" fmla="*/ 86894 w 429"/>
              <a:gd name="T85" fmla="*/ 178200 h 524"/>
              <a:gd name="T86" fmla="*/ 91698 w 429"/>
              <a:gd name="T87" fmla="*/ 165097 h 524"/>
              <a:gd name="T88" fmla="*/ 93008 w 429"/>
              <a:gd name="T89" fmla="*/ 151994 h 524"/>
              <a:gd name="T90" fmla="*/ 93881 w 429"/>
              <a:gd name="T91" fmla="*/ 140988 h 524"/>
              <a:gd name="T92" fmla="*/ 87768 w 429"/>
              <a:gd name="T93" fmla="*/ 123692 h 524"/>
              <a:gd name="T94" fmla="*/ 82091 w 429"/>
              <a:gd name="T95" fmla="*/ 106396 h 524"/>
              <a:gd name="T96" fmla="*/ 90388 w 429"/>
              <a:gd name="T97" fmla="*/ 92769 h 524"/>
              <a:gd name="T98" fmla="*/ 91698 w 429"/>
              <a:gd name="T99" fmla="*/ 85955 h 524"/>
              <a:gd name="T100" fmla="*/ 87331 w 429"/>
              <a:gd name="T101" fmla="*/ 81238 h 524"/>
              <a:gd name="T102" fmla="*/ 86021 w 429"/>
              <a:gd name="T103" fmla="*/ 71804 h 524"/>
              <a:gd name="T104" fmla="*/ 82091 w 429"/>
              <a:gd name="T105" fmla="*/ 67611 h 524"/>
              <a:gd name="T106" fmla="*/ 70301 w 429"/>
              <a:gd name="T107" fmla="*/ 69184 h 524"/>
              <a:gd name="T108" fmla="*/ 59822 w 429"/>
              <a:gd name="T109" fmla="*/ 68660 h 524"/>
              <a:gd name="T110" fmla="*/ 54582 w 429"/>
              <a:gd name="T111" fmla="*/ 62370 h 524"/>
              <a:gd name="T112" fmla="*/ 53709 w 429"/>
              <a:gd name="T113" fmla="*/ 53984 h 524"/>
              <a:gd name="T114" fmla="*/ 57638 w 429"/>
              <a:gd name="T115" fmla="*/ 39833 h 524"/>
              <a:gd name="T116" fmla="*/ 133616 w 429"/>
              <a:gd name="T117" fmla="*/ 19916 h 524"/>
              <a:gd name="T118" fmla="*/ 141040 w 429"/>
              <a:gd name="T119" fmla="*/ 8910 h 524"/>
              <a:gd name="T120" fmla="*/ 149773 w 429"/>
              <a:gd name="T121" fmla="*/ 3669 h 524"/>
              <a:gd name="T122" fmla="*/ 163309 w 429"/>
              <a:gd name="T123" fmla="*/ 2621 h 524"/>
              <a:gd name="T124" fmla="*/ 178155 w 429"/>
              <a:gd name="T125" fmla="*/ 2096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9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112647 w 292"/>
              <a:gd name="T1" fmla="*/ 47668 h 223"/>
              <a:gd name="T2" fmla="*/ 72199 w 292"/>
              <a:gd name="T3" fmla="*/ 39467 h 223"/>
              <a:gd name="T4" fmla="*/ 66110 w 292"/>
              <a:gd name="T5" fmla="*/ 40492 h 223"/>
              <a:gd name="T6" fmla="*/ 60455 w 292"/>
              <a:gd name="T7" fmla="*/ 40492 h 223"/>
              <a:gd name="T8" fmla="*/ 54801 w 292"/>
              <a:gd name="T9" fmla="*/ 39467 h 223"/>
              <a:gd name="T10" fmla="*/ 51757 w 292"/>
              <a:gd name="T11" fmla="*/ 47668 h 223"/>
              <a:gd name="T12" fmla="*/ 62630 w 292"/>
              <a:gd name="T13" fmla="*/ 67145 h 223"/>
              <a:gd name="T14" fmla="*/ 73068 w 292"/>
              <a:gd name="T15" fmla="*/ 80471 h 223"/>
              <a:gd name="T16" fmla="*/ 82202 w 292"/>
              <a:gd name="T17" fmla="*/ 94823 h 223"/>
              <a:gd name="T18" fmla="*/ 85682 w 292"/>
              <a:gd name="T19" fmla="*/ 103536 h 223"/>
              <a:gd name="T20" fmla="*/ 89161 w 292"/>
              <a:gd name="T21" fmla="*/ 113787 h 223"/>
              <a:gd name="T22" fmla="*/ 76113 w 292"/>
              <a:gd name="T23" fmla="*/ 114300 h 223"/>
              <a:gd name="T24" fmla="*/ 70024 w 292"/>
              <a:gd name="T25" fmla="*/ 113787 h 223"/>
              <a:gd name="T26" fmla="*/ 63500 w 292"/>
              <a:gd name="T27" fmla="*/ 110712 h 223"/>
              <a:gd name="T28" fmla="*/ 58281 w 292"/>
              <a:gd name="T29" fmla="*/ 107124 h 223"/>
              <a:gd name="T30" fmla="*/ 55236 w 292"/>
              <a:gd name="T31" fmla="*/ 101486 h 223"/>
              <a:gd name="T32" fmla="*/ 52627 w 292"/>
              <a:gd name="T33" fmla="*/ 95848 h 223"/>
              <a:gd name="T34" fmla="*/ 49147 w 292"/>
              <a:gd name="T35" fmla="*/ 92260 h 223"/>
              <a:gd name="T36" fmla="*/ 39579 w 292"/>
              <a:gd name="T37" fmla="*/ 74321 h 223"/>
              <a:gd name="T38" fmla="*/ 29575 w 292"/>
              <a:gd name="T39" fmla="*/ 57919 h 223"/>
              <a:gd name="T40" fmla="*/ 23921 w 292"/>
              <a:gd name="T41" fmla="*/ 50743 h 223"/>
              <a:gd name="T42" fmla="*/ 18267 w 292"/>
              <a:gd name="T43" fmla="*/ 44592 h 223"/>
              <a:gd name="T44" fmla="*/ 11743 w 292"/>
              <a:gd name="T45" fmla="*/ 40492 h 223"/>
              <a:gd name="T46" fmla="*/ 5654 w 292"/>
              <a:gd name="T47" fmla="*/ 38442 h 223"/>
              <a:gd name="T48" fmla="*/ 1740 w 292"/>
              <a:gd name="T49" fmla="*/ 33316 h 223"/>
              <a:gd name="T50" fmla="*/ 435 w 292"/>
              <a:gd name="T51" fmla="*/ 29728 h 223"/>
              <a:gd name="T52" fmla="*/ 0 w 292"/>
              <a:gd name="T53" fmla="*/ 25115 h 223"/>
              <a:gd name="T54" fmla="*/ 17397 w 292"/>
              <a:gd name="T55" fmla="*/ 28191 h 223"/>
              <a:gd name="T56" fmla="*/ 30445 w 292"/>
              <a:gd name="T57" fmla="*/ 28191 h 223"/>
              <a:gd name="T58" fmla="*/ 39579 w 292"/>
              <a:gd name="T59" fmla="*/ 25628 h 223"/>
              <a:gd name="T60" fmla="*/ 46103 w 292"/>
              <a:gd name="T61" fmla="*/ 21015 h 223"/>
              <a:gd name="T62" fmla="*/ 55236 w 292"/>
              <a:gd name="T63" fmla="*/ 10251 h 223"/>
              <a:gd name="T64" fmla="*/ 60021 w 292"/>
              <a:gd name="T65" fmla="*/ 4613 h 223"/>
              <a:gd name="T66" fmla="*/ 66110 w 292"/>
              <a:gd name="T67" fmla="*/ 0 h 223"/>
              <a:gd name="T68" fmla="*/ 74808 w 292"/>
              <a:gd name="T69" fmla="*/ 7176 h 223"/>
              <a:gd name="T70" fmla="*/ 84377 w 292"/>
              <a:gd name="T71" fmla="*/ 13326 h 223"/>
              <a:gd name="T72" fmla="*/ 94815 w 292"/>
              <a:gd name="T73" fmla="*/ 17427 h 223"/>
              <a:gd name="T74" fmla="*/ 106993 w 292"/>
              <a:gd name="T75" fmla="*/ 18965 h 223"/>
              <a:gd name="T76" fmla="*/ 113952 w 292"/>
              <a:gd name="T77" fmla="*/ 17427 h 223"/>
              <a:gd name="T78" fmla="*/ 121346 w 292"/>
              <a:gd name="T79" fmla="*/ 15889 h 223"/>
              <a:gd name="T80" fmla="*/ 123955 w 292"/>
              <a:gd name="T81" fmla="*/ 24090 h 223"/>
              <a:gd name="T82" fmla="*/ 124825 w 292"/>
              <a:gd name="T83" fmla="*/ 25115 h 223"/>
              <a:gd name="T84" fmla="*/ 127000 w 292"/>
              <a:gd name="T85" fmla="*/ 35366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0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166499 w 379"/>
              <a:gd name="T1" fmla="*/ 49742 h 147"/>
              <a:gd name="T2" fmla="*/ 159839 w 379"/>
              <a:gd name="T3" fmla="*/ 53446 h 147"/>
              <a:gd name="T4" fmla="*/ 157175 w 379"/>
              <a:gd name="T5" fmla="*/ 57150 h 147"/>
              <a:gd name="T6" fmla="*/ 154067 w 379"/>
              <a:gd name="T7" fmla="*/ 61913 h 147"/>
              <a:gd name="T8" fmla="*/ 147851 w 379"/>
              <a:gd name="T9" fmla="*/ 67205 h 147"/>
              <a:gd name="T10" fmla="*/ 142079 w 379"/>
              <a:gd name="T11" fmla="*/ 69321 h 147"/>
              <a:gd name="T12" fmla="*/ 138083 w 379"/>
              <a:gd name="T13" fmla="*/ 69850 h 147"/>
              <a:gd name="T14" fmla="*/ 133643 w 379"/>
              <a:gd name="T15" fmla="*/ 68792 h 147"/>
              <a:gd name="T16" fmla="*/ 129203 w 379"/>
              <a:gd name="T17" fmla="*/ 66675 h 147"/>
              <a:gd name="T18" fmla="*/ 124763 w 379"/>
              <a:gd name="T19" fmla="*/ 62971 h 147"/>
              <a:gd name="T20" fmla="*/ 122099 w 379"/>
              <a:gd name="T21" fmla="*/ 61384 h 147"/>
              <a:gd name="T22" fmla="*/ 119435 w 379"/>
              <a:gd name="T23" fmla="*/ 62442 h 147"/>
              <a:gd name="T24" fmla="*/ 118547 w 379"/>
              <a:gd name="T25" fmla="*/ 65088 h 147"/>
              <a:gd name="T26" fmla="*/ 118103 w 379"/>
              <a:gd name="T27" fmla="*/ 74084 h 147"/>
              <a:gd name="T28" fmla="*/ 114107 w 379"/>
              <a:gd name="T29" fmla="*/ 76730 h 147"/>
              <a:gd name="T30" fmla="*/ 108335 w 379"/>
              <a:gd name="T31" fmla="*/ 74084 h 147"/>
              <a:gd name="T32" fmla="*/ 101675 w 379"/>
              <a:gd name="T33" fmla="*/ 69321 h 147"/>
              <a:gd name="T34" fmla="*/ 50172 w 379"/>
              <a:gd name="T35" fmla="*/ 74613 h 147"/>
              <a:gd name="T36" fmla="*/ 35520 w 379"/>
              <a:gd name="T37" fmla="*/ 65617 h 147"/>
              <a:gd name="T38" fmla="*/ 25752 w 379"/>
              <a:gd name="T39" fmla="*/ 57680 h 147"/>
              <a:gd name="T40" fmla="*/ 19980 w 379"/>
              <a:gd name="T41" fmla="*/ 49742 h 147"/>
              <a:gd name="T42" fmla="*/ 16428 w 379"/>
              <a:gd name="T43" fmla="*/ 43392 h 147"/>
              <a:gd name="T44" fmla="*/ 11544 w 379"/>
              <a:gd name="T45" fmla="*/ 31221 h 147"/>
              <a:gd name="T46" fmla="*/ 7104 w 379"/>
              <a:gd name="T47" fmla="*/ 25400 h 147"/>
              <a:gd name="T48" fmla="*/ 0 w 379"/>
              <a:gd name="T49" fmla="*/ 19050 h 147"/>
              <a:gd name="T50" fmla="*/ 12876 w 379"/>
              <a:gd name="T51" fmla="*/ 21167 h 147"/>
              <a:gd name="T52" fmla="*/ 23088 w 379"/>
              <a:gd name="T53" fmla="*/ 20108 h 147"/>
              <a:gd name="T54" fmla="*/ 31968 w 379"/>
              <a:gd name="T55" fmla="*/ 17463 h 147"/>
              <a:gd name="T56" fmla="*/ 38628 w 379"/>
              <a:gd name="T57" fmla="*/ 13229 h 147"/>
              <a:gd name="T58" fmla="*/ 52836 w 379"/>
              <a:gd name="T59" fmla="*/ 4233 h 147"/>
              <a:gd name="T60" fmla="*/ 61272 w 379"/>
              <a:gd name="T61" fmla="*/ 1058 h 147"/>
              <a:gd name="T62" fmla="*/ 70596 w 379"/>
              <a:gd name="T63" fmla="*/ 0 h 147"/>
              <a:gd name="T64" fmla="*/ 88799 w 379"/>
              <a:gd name="T65" fmla="*/ 12171 h 147"/>
              <a:gd name="T66" fmla="*/ 108335 w 379"/>
              <a:gd name="T67" fmla="*/ 23813 h 147"/>
              <a:gd name="T68" fmla="*/ 129647 w 379"/>
              <a:gd name="T69" fmla="*/ 35454 h 147"/>
              <a:gd name="T70" fmla="*/ 147851 w 379"/>
              <a:gd name="T71" fmla="*/ 42334 h 147"/>
              <a:gd name="T72" fmla="*/ 157175 w 379"/>
              <a:gd name="T73" fmla="*/ 45509 h 147"/>
              <a:gd name="T74" fmla="*/ 168275 w 379"/>
              <a:gd name="T75" fmla="*/ 48684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1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8103 h 67"/>
              <a:gd name="T4" fmla="*/ 0 w 61"/>
              <a:gd name="T5" fmla="*/ 16207 h 67"/>
              <a:gd name="T6" fmla="*/ 494 w 61"/>
              <a:gd name="T7" fmla="*/ 21609 h 67"/>
              <a:gd name="T8" fmla="*/ 989 w 61"/>
              <a:gd name="T9" fmla="*/ 27011 h 67"/>
              <a:gd name="T10" fmla="*/ 1483 w 61"/>
              <a:gd name="T11" fmla="*/ 32413 h 67"/>
              <a:gd name="T12" fmla="*/ 2967 w 61"/>
              <a:gd name="T13" fmla="*/ 37816 h 67"/>
              <a:gd name="T14" fmla="*/ 5934 w 61"/>
              <a:gd name="T15" fmla="*/ 49521 h 67"/>
              <a:gd name="T16" fmla="*/ 10384 w 61"/>
              <a:gd name="T17" fmla="*/ 60325 h 67"/>
              <a:gd name="T18" fmla="*/ 13845 w 61"/>
              <a:gd name="T19" fmla="*/ 58524 h 67"/>
              <a:gd name="T20" fmla="*/ 17306 w 61"/>
              <a:gd name="T21" fmla="*/ 54923 h 67"/>
              <a:gd name="T22" fmla="*/ 20767 w 61"/>
              <a:gd name="T23" fmla="*/ 52222 h 67"/>
              <a:gd name="T24" fmla="*/ 23734 w 61"/>
              <a:gd name="T25" fmla="*/ 47720 h 67"/>
              <a:gd name="T26" fmla="*/ 26206 w 61"/>
              <a:gd name="T27" fmla="*/ 42318 h 67"/>
              <a:gd name="T28" fmla="*/ 28184 w 61"/>
              <a:gd name="T29" fmla="*/ 36015 h 67"/>
              <a:gd name="T30" fmla="*/ 29173 w 61"/>
              <a:gd name="T31" fmla="*/ 28812 h 67"/>
              <a:gd name="T32" fmla="*/ 30162 w 61"/>
              <a:gd name="T33" fmla="*/ 21609 h 67"/>
              <a:gd name="T34" fmla="*/ 26206 w 61"/>
              <a:gd name="T35" fmla="*/ 12605 h 67"/>
              <a:gd name="T36" fmla="*/ 20273 w 61"/>
              <a:gd name="T37" fmla="*/ 0 h 67"/>
              <a:gd name="T38" fmla="*/ 13845 w 61"/>
              <a:gd name="T39" fmla="*/ 2701 h 67"/>
              <a:gd name="T40" fmla="*/ 8900 w 61"/>
              <a:gd name="T41" fmla="*/ 3601 h 67"/>
              <a:gd name="T42" fmla="*/ 6428 w 61"/>
              <a:gd name="T43" fmla="*/ 3601 h 67"/>
              <a:gd name="T44" fmla="*/ 4945 w 61"/>
              <a:gd name="T45" fmla="*/ 2701 h 67"/>
              <a:gd name="T46" fmla="*/ 2967 w 61"/>
              <a:gd name="T47" fmla="*/ 1801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2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6408 h 55"/>
              <a:gd name="T2" fmla="*/ 0 w 60"/>
              <a:gd name="T3" fmla="*/ 25631 h 55"/>
              <a:gd name="T4" fmla="*/ 2117 w 60"/>
              <a:gd name="T5" fmla="*/ 34175 h 55"/>
              <a:gd name="T6" fmla="*/ 4233 w 60"/>
              <a:gd name="T7" fmla="*/ 42719 h 55"/>
              <a:gd name="T8" fmla="*/ 6773 w 60"/>
              <a:gd name="T9" fmla="*/ 48058 h 55"/>
              <a:gd name="T10" fmla="*/ 8890 w 60"/>
              <a:gd name="T11" fmla="*/ 52330 h 55"/>
              <a:gd name="T12" fmla="*/ 11430 w 60"/>
              <a:gd name="T13" fmla="*/ 55534 h 55"/>
              <a:gd name="T14" fmla="*/ 13970 w 60"/>
              <a:gd name="T15" fmla="*/ 57670 h 55"/>
              <a:gd name="T16" fmla="*/ 16933 w 60"/>
              <a:gd name="T17" fmla="*/ 58738 h 55"/>
              <a:gd name="T18" fmla="*/ 19473 w 60"/>
              <a:gd name="T19" fmla="*/ 58738 h 55"/>
              <a:gd name="T20" fmla="*/ 22437 w 60"/>
              <a:gd name="T21" fmla="*/ 55534 h 55"/>
              <a:gd name="T22" fmla="*/ 25400 w 60"/>
              <a:gd name="T23" fmla="*/ 52330 h 55"/>
              <a:gd name="T24" fmla="*/ 21167 w 60"/>
              <a:gd name="T25" fmla="*/ 36311 h 55"/>
              <a:gd name="T26" fmla="*/ 17780 w 60"/>
              <a:gd name="T27" fmla="*/ 23495 h 55"/>
              <a:gd name="T28" fmla="*/ 16510 w 60"/>
              <a:gd name="T29" fmla="*/ 18155 h 55"/>
              <a:gd name="T30" fmla="*/ 14817 w 60"/>
              <a:gd name="T31" fmla="*/ 12816 h 55"/>
              <a:gd name="T32" fmla="*/ 14393 w 60"/>
              <a:gd name="T33" fmla="*/ 6408 h 55"/>
              <a:gd name="T34" fmla="*/ 13970 w 60"/>
              <a:gd name="T35" fmla="*/ 0 h 55"/>
              <a:gd name="T36" fmla="*/ 9737 w 60"/>
              <a:gd name="T37" fmla="*/ 1068 h 55"/>
              <a:gd name="T38" fmla="*/ 6350 w 60"/>
              <a:gd name="T39" fmla="*/ 3204 h 55"/>
              <a:gd name="T40" fmla="*/ 2963 w 60"/>
              <a:gd name="T41" fmla="*/ 5340 h 55"/>
              <a:gd name="T42" fmla="*/ 0 w 60"/>
              <a:gd name="T43" fmla="*/ 6408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43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32306 w 120"/>
              <a:gd name="T1" fmla="*/ 67802 h 148"/>
              <a:gd name="T2" fmla="*/ 30560 w 120"/>
              <a:gd name="T3" fmla="*/ 68853 h 148"/>
              <a:gd name="T4" fmla="*/ 29250 w 120"/>
              <a:gd name="T5" fmla="*/ 69378 h 148"/>
              <a:gd name="T6" fmla="*/ 27940 w 120"/>
              <a:gd name="T7" fmla="*/ 69904 h 148"/>
              <a:gd name="T8" fmla="*/ 26194 w 120"/>
              <a:gd name="T9" fmla="*/ 69904 h 148"/>
              <a:gd name="T10" fmla="*/ 24448 w 120"/>
              <a:gd name="T11" fmla="*/ 69904 h 148"/>
              <a:gd name="T12" fmla="*/ 23138 w 120"/>
              <a:gd name="T13" fmla="*/ 69378 h 148"/>
              <a:gd name="T14" fmla="*/ 21828 w 120"/>
              <a:gd name="T15" fmla="*/ 68853 h 148"/>
              <a:gd name="T16" fmla="*/ 20519 w 120"/>
              <a:gd name="T17" fmla="*/ 67802 h 148"/>
              <a:gd name="T18" fmla="*/ 17899 w 120"/>
              <a:gd name="T19" fmla="*/ 67276 h 148"/>
              <a:gd name="T20" fmla="*/ 14843 w 120"/>
              <a:gd name="T21" fmla="*/ 65699 h 148"/>
              <a:gd name="T22" fmla="*/ 11351 w 120"/>
              <a:gd name="T23" fmla="*/ 63071 h 148"/>
              <a:gd name="T24" fmla="*/ 8295 w 120"/>
              <a:gd name="T25" fmla="*/ 60443 h 148"/>
              <a:gd name="T26" fmla="*/ 4802 w 120"/>
              <a:gd name="T27" fmla="*/ 56764 h 148"/>
              <a:gd name="T28" fmla="*/ 2619 w 120"/>
              <a:gd name="T29" fmla="*/ 53085 h 148"/>
              <a:gd name="T30" fmla="*/ 1310 w 120"/>
              <a:gd name="T31" fmla="*/ 50983 h 148"/>
              <a:gd name="T32" fmla="*/ 873 w 120"/>
              <a:gd name="T33" fmla="*/ 49406 h 148"/>
              <a:gd name="T34" fmla="*/ 437 w 120"/>
              <a:gd name="T35" fmla="*/ 47304 h 148"/>
              <a:gd name="T36" fmla="*/ 0 w 120"/>
              <a:gd name="T37" fmla="*/ 45727 h 148"/>
              <a:gd name="T38" fmla="*/ 873 w 120"/>
              <a:gd name="T39" fmla="*/ 38368 h 148"/>
              <a:gd name="T40" fmla="*/ 3493 w 120"/>
              <a:gd name="T41" fmla="*/ 28908 h 148"/>
              <a:gd name="T42" fmla="*/ 6112 w 120"/>
              <a:gd name="T43" fmla="*/ 18396 h 148"/>
              <a:gd name="T44" fmla="*/ 8731 w 120"/>
              <a:gd name="T45" fmla="*/ 9461 h 148"/>
              <a:gd name="T46" fmla="*/ 13970 w 120"/>
              <a:gd name="T47" fmla="*/ 8935 h 148"/>
              <a:gd name="T48" fmla="*/ 18336 w 120"/>
              <a:gd name="T49" fmla="*/ 8410 h 148"/>
              <a:gd name="T50" fmla="*/ 22265 w 120"/>
              <a:gd name="T51" fmla="*/ 7358 h 148"/>
              <a:gd name="T52" fmla="*/ 25321 w 120"/>
              <a:gd name="T53" fmla="*/ 5782 h 148"/>
              <a:gd name="T54" fmla="*/ 30560 w 120"/>
              <a:gd name="T55" fmla="*/ 2628 h 148"/>
              <a:gd name="T56" fmla="*/ 34925 w 120"/>
              <a:gd name="T57" fmla="*/ 0 h 148"/>
              <a:gd name="T58" fmla="*/ 37108 w 120"/>
              <a:gd name="T59" fmla="*/ 1051 h 148"/>
              <a:gd name="T60" fmla="*/ 40601 w 120"/>
              <a:gd name="T61" fmla="*/ 3679 h 148"/>
              <a:gd name="T62" fmla="*/ 42784 w 120"/>
              <a:gd name="T63" fmla="*/ 5256 h 148"/>
              <a:gd name="T64" fmla="*/ 44530 w 120"/>
              <a:gd name="T65" fmla="*/ 6833 h 148"/>
              <a:gd name="T66" fmla="*/ 46276 w 120"/>
              <a:gd name="T67" fmla="*/ 8410 h 148"/>
              <a:gd name="T68" fmla="*/ 46713 w 120"/>
              <a:gd name="T69" fmla="*/ 9461 h 148"/>
              <a:gd name="T70" fmla="*/ 43657 w 120"/>
              <a:gd name="T71" fmla="*/ 14717 h 148"/>
              <a:gd name="T72" fmla="*/ 40601 w 120"/>
              <a:gd name="T73" fmla="*/ 19447 h 148"/>
              <a:gd name="T74" fmla="*/ 41474 w 120"/>
              <a:gd name="T75" fmla="*/ 22075 h 148"/>
              <a:gd name="T76" fmla="*/ 42784 w 120"/>
              <a:gd name="T77" fmla="*/ 25754 h 148"/>
              <a:gd name="T78" fmla="*/ 44530 w 120"/>
              <a:gd name="T79" fmla="*/ 29433 h 148"/>
              <a:gd name="T80" fmla="*/ 46713 w 120"/>
              <a:gd name="T81" fmla="*/ 33112 h 148"/>
              <a:gd name="T82" fmla="*/ 50205 w 120"/>
              <a:gd name="T83" fmla="*/ 39420 h 148"/>
              <a:gd name="T84" fmla="*/ 52388 w 120"/>
              <a:gd name="T85" fmla="*/ 41522 h 148"/>
              <a:gd name="T86" fmla="*/ 49332 w 120"/>
              <a:gd name="T87" fmla="*/ 42573 h 148"/>
              <a:gd name="T88" fmla="*/ 46713 w 120"/>
              <a:gd name="T89" fmla="*/ 44150 h 148"/>
              <a:gd name="T90" fmla="*/ 43657 w 120"/>
              <a:gd name="T91" fmla="*/ 45727 h 148"/>
              <a:gd name="T92" fmla="*/ 41910 w 120"/>
              <a:gd name="T93" fmla="*/ 47829 h 148"/>
              <a:gd name="T94" fmla="*/ 39291 w 120"/>
              <a:gd name="T95" fmla="*/ 49931 h 148"/>
              <a:gd name="T96" fmla="*/ 37981 w 120"/>
              <a:gd name="T97" fmla="*/ 52034 h 148"/>
              <a:gd name="T98" fmla="*/ 35798 w 120"/>
              <a:gd name="T99" fmla="*/ 54662 h 148"/>
              <a:gd name="T100" fmla="*/ 34925 w 120"/>
              <a:gd name="T101" fmla="*/ 57290 h 148"/>
              <a:gd name="T102" fmla="*/ 34052 w 120"/>
              <a:gd name="T103" fmla="*/ 59918 h 148"/>
              <a:gd name="T104" fmla="*/ 33616 w 120"/>
              <a:gd name="T105" fmla="*/ 63071 h 148"/>
              <a:gd name="T106" fmla="*/ 33179 w 120"/>
              <a:gd name="T107" fmla="*/ 65699 h 148"/>
              <a:gd name="T108" fmla="*/ 32743 w 120"/>
              <a:gd name="T109" fmla="*/ 68327 h 148"/>
              <a:gd name="T110" fmla="*/ 33179 w 120"/>
              <a:gd name="T111" fmla="*/ 70955 h 148"/>
              <a:gd name="T112" fmla="*/ 33616 w 120"/>
              <a:gd name="T113" fmla="*/ 73583 h 148"/>
              <a:gd name="T114" fmla="*/ 34052 w 120"/>
              <a:gd name="T115" fmla="*/ 75686 h 148"/>
              <a:gd name="T116" fmla="*/ 34925 w 120"/>
              <a:gd name="T117" fmla="*/ 77788 h 148"/>
              <a:gd name="T118" fmla="*/ 32306 w 120"/>
              <a:gd name="T119" fmla="*/ 67802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4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9087 w 631"/>
              <a:gd name="T1" fmla="*/ 1040 h 592"/>
              <a:gd name="T2" fmla="*/ 13847 w 631"/>
              <a:gd name="T3" fmla="*/ 2081 h 592"/>
              <a:gd name="T4" fmla="*/ 23367 w 631"/>
              <a:gd name="T5" fmla="*/ 4162 h 592"/>
              <a:gd name="T6" fmla="*/ 33753 w 631"/>
              <a:gd name="T7" fmla="*/ 5723 h 592"/>
              <a:gd name="T8" fmla="*/ 45003 w 631"/>
              <a:gd name="T9" fmla="*/ 9884 h 592"/>
              <a:gd name="T10" fmla="*/ 56254 w 631"/>
              <a:gd name="T11" fmla="*/ 16647 h 592"/>
              <a:gd name="T12" fmla="*/ 63178 w 631"/>
              <a:gd name="T13" fmla="*/ 20809 h 592"/>
              <a:gd name="T14" fmla="*/ 68803 w 631"/>
              <a:gd name="T15" fmla="*/ 22370 h 592"/>
              <a:gd name="T16" fmla="*/ 81785 w 631"/>
              <a:gd name="T17" fmla="*/ 22370 h 592"/>
              <a:gd name="T18" fmla="*/ 98229 w 631"/>
              <a:gd name="T19" fmla="*/ 19248 h 592"/>
              <a:gd name="T20" fmla="*/ 119865 w 631"/>
              <a:gd name="T21" fmla="*/ 11965 h 592"/>
              <a:gd name="T22" fmla="*/ 172658 w 631"/>
              <a:gd name="T23" fmla="*/ 19769 h 592"/>
              <a:gd name="T24" fmla="*/ 174389 w 631"/>
              <a:gd name="T25" fmla="*/ 35896 h 592"/>
              <a:gd name="T26" fmla="*/ 177418 w 631"/>
              <a:gd name="T27" fmla="*/ 49422 h 592"/>
              <a:gd name="T28" fmla="*/ 180447 w 631"/>
              <a:gd name="T29" fmla="*/ 61907 h 592"/>
              <a:gd name="T30" fmla="*/ 184774 w 631"/>
              <a:gd name="T31" fmla="*/ 72832 h 592"/>
              <a:gd name="T32" fmla="*/ 194727 w 631"/>
              <a:gd name="T33" fmla="*/ 91040 h 592"/>
              <a:gd name="T34" fmla="*/ 204247 w 631"/>
              <a:gd name="T35" fmla="*/ 106127 h 592"/>
              <a:gd name="T36" fmla="*/ 208574 w 631"/>
              <a:gd name="T37" fmla="*/ 115491 h 592"/>
              <a:gd name="T38" fmla="*/ 209872 w 631"/>
              <a:gd name="T39" fmla="*/ 124855 h 592"/>
              <a:gd name="T40" fmla="*/ 212468 w 631"/>
              <a:gd name="T41" fmla="*/ 132658 h 592"/>
              <a:gd name="T42" fmla="*/ 214632 w 631"/>
              <a:gd name="T43" fmla="*/ 135780 h 592"/>
              <a:gd name="T44" fmla="*/ 218527 w 631"/>
              <a:gd name="T45" fmla="*/ 138381 h 592"/>
              <a:gd name="T46" fmla="*/ 221988 w 631"/>
              <a:gd name="T47" fmla="*/ 140462 h 592"/>
              <a:gd name="T48" fmla="*/ 224585 w 631"/>
              <a:gd name="T49" fmla="*/ 144623 h 592"/>
              <a:gd name="T50" fmla="*/ 230643 w 631"/>
              <a:gd name="T51" fmla="*/ 157629 h 592"/>
              <a:gd name="T52" fmla="*/ 234105 w 631"/>
              <a:gd name="T53" fmla="*/ 172195 h 592"/>
              <a:gd name="T54" fmla="*/ 235836 w 631"/>
              <a:gd name="T55" fmla="*/ 186242 h 592"/>
              <a:gd name="T56" fmla="*/ 237134 w 631"/>
              <a:gd name="T57" fmla="*/ 191444 h 592"/>
              <a:gd name="T58" fmla="*/ 241028 w 631"/>
              <a:gd name="T59" fmla="*/ 198207 h 592"/>
              <a:gd name="T60" fmla="*/ 252279 w 631"/>
              <a:gd name="T61" fmla="*/ 215895 h 592"/>
              <a:gd name="T62" fmla="*/ 264828 w 631"/>
              <a:gd name="T63" fmla="*/ 232542 h 592"/>
              <a:gd name="T64" fmla="*/ 273050 w 631"/>
              <a:gd name="T65" fmla="*/ 240866 h 592"/>
              <a:gd name="T66" fmla="*/ 264828 w 631"/>
              <a:gd name="T67" fmla="*/ 250230 h 592"/>
              <a:gd name="T68" fmla="*/ 270021 w 631"/>
              <a:gd name="T69" fmla="*/ 258033 h 592"/>
              <a:gd name="T70" fmla="*/ 270886 w 631"/>
              <a:gd name="T71" fmla="*/ 263756 h 592"/>
              <a:gd name="T72" fmla="*/ 270886 w 631"/>
              <a:gd name="T73" fmla="*/ 268438 h 592"/>
              <a:gd name="T74" fmla="*/ 273050 w 631"/>
              <a:gd name="T75" fmla="*/ 276241 h 592"/>
              <a:gd name="T76" fmla="*/ 270886 w 631"/>
              <a:gd name="T77" fmla="*/ 280403 h 592"/>
              <a:gd name="T78" fmla="*/ 266992 w 631"/>
              <a:gd name="T79" fmla="*/ 285085 h 592"/>
              <a:gd name="T80" fmla="*/ 256174 w 631"/>
              <a:gd name="T81" fmla="*/ 296010 h 592"/>
              <a:gd name="T82" fmla="*/ 241461 w 631"/>
              <a:gd name="T83" fmla="*/ 307975 h 592"/>
              <a:gd name="T84" fmla="*/ 19905 w 631"/>
              <a:gd name="T85" fmla="*/ 90520 h 592"/>
              <a:gd name="T86" fmla="*/ 10818 w 631"/>
              <a:gd name="T87" fmla="*/ 81676 h 592"/>
              <a:gd name="T88" fmla="*/ 4760 w 631"/>
              <a:gd name="T89" fmla="*/ 71791 h 592"/>
              <a:gd name="T90" fmla="*/ 865 w 631"/>
              <a:gd name="T91" fmla="*/ 60867 h 592"/>
              <a:gd name="T92" fmla="*/ 0 w 631"/>
              <a:gd name="T93" fmla="*/ 48381 h 592"/>
              <a:gd name="T94" fmla="*/ 1298 w 631"/>
              <a:gd name="T95" fmla="*/ 46300 h 592"/>
              <a:gd name="T96" fmla="*/ 4327 w 631"/>
              <a:gd name="T97" fmla="*/ 43179 h 592"/>
              <a:gd name="T98" fmla="*/ 7356 w 631"/>
              <a:gd name="T99" fmla="*/ 40058 h 592"/>
              <a:gd name="T100" fmla="*/ 8655 w 631"/>
              <a:gd name="T101" fmla="*/ 35896 h 592"/>
              <a:gd name="T102" fmla="*/ 7789 w 631"/>
              <a:gd name="T103" fmla="*/ 27572 h 592"/>
              <a:gd name="T104" fmla="*/ 5625 w 631"/>
              <a:gd name="T105" fmla="*/ 21850 h 592"/>
              <a:gd name="T106" fmla="*/ 3895 w 631"/>
              <a:gd name="T107" fmla="*/ 17688 h 592"/>
              <a:gd name="T108" fmla="*/ 3029 w 631"/>
              <a:gd name="T109" fmla="*/ 13526 h 592"/>
              <a:gd name="T110" fmla="*/ 5625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5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3056 w 40"/>
              <a:gd name="T1" fmla="*/ 19050 h 93"/>
              <a:gd name="T2" fmla="*/ 4366 w 40"/>
              <a:gd name="T3" fmla="*/ 18435 h 93"/>
              <a:gd name="T4" fmla="*/ 6112 w 40"/>
              <a:gd name="T5" fmla="*/ 15977 h 93"/>
              <a:gd name="T6" fmla="*/ 8731 w 40"/>
              <a:gd name="T7" fmla="*/ 12290 h 93"/>
              <a:gd name="T8" fmla="*/ 10914 w 40"/>
              <a:gd name="T9" fmla="*/ 9218 h 93"/>
              <a:gd name="T10" fmla="*/ 15279 w 40"/>
              <a:gd name="T11" fmla="*/ 2458 h 93"/>
              <a:gd name="T12" fmla="*/ 17462 w 40"/>
              <a:gd name="T13" fmla="*/ 0 h 93"/>
              <a:gd name="T14" fmla="*/ 16152 w 40"/>
              <a:gd name="T15" fmla="*/ 15977 h 93"/>
              <a:gd name="T16" fmla="*/ 15279 w 40"/>
              <a:gd name="T17" fmla="*/ 32569 h 93"/>
              <a:gd name="T18" fmla="*/ 14843 w 40"/>
              <a:gd name="T19" fmla="*/ 39944 h 93"/>
              <a:gd name="T20" fmla="*/ 14843 w 40"/>
              <a:gd name="T21" fmla="*/ 47318 h 93"/>
              <a:gd name="T22" fmla="*/ 15279 w 40"/>
              <a:gd name="T23" fmla="*/ 50390 h 93"/>
              <a:gd name="T24" fmla="*/ 15716 w 40"/>
              <a:gd name="T25" fmla="*/ 52848 h 93"/>
              <a:gd name="T26" fmla="*/ 16152 w 40"/>
              <a:gd name="T27" fmla="*/ 55306 h 93"/>
              <a:gd name="T28" fmla="*/ 17462 w 40"/>
              <a:gd name="T29" fmla="*/ 57150 h 93"/>
              <a:gd name="T30" fmla="*/ 11350 w 40"/>
              <a:gd name="T31" fmla="*/ 57150 h 93"/>
              <a:gd name="T32" fmla="*/ 5675 w 40"/>
              <a:gd name="T33" fmla="*/ 57150 h 93"/>
              <a:gd name="T34" fmla="*/ 4802 w 40"/>
              <a:gd name="T35" fmla="*/ 56535 h 93"/>
              <a:gd name="T36" fmla="*/ 3492 w 40"/>
              <a:gd name="T37" fmla="*/ 55921 h 93"/>
              <a:gd name="T38" fmla="*/ 2619 w 40"/>
              <a:gd name="T39" fmla="*/ 54077 h 93"/>
              <a:gd name="T40" fmla="*/ 1746 w 40"/>
              <a:gd name="T41" fmla="*/ 52848 h 93"/>
              <a:gd name="T42" fmla="*/ 437 w 40"/>
              <a:gd name="T43" fmla="*/ 49161 h 93"/>
              <a:gd name="T44" fmla="*/ 0 w 40"/>
              <a:gd name="T45" fmla="*/ 44860 h 93"/>
              <a:gd name="T46" fmla="*/ 437 w 40"/>
              <a:gd name="T47" fmla="*/ 39329 h 93"/>
              <a:gd name="T48" fmla="*/ 1310 w 40"/>
              <a:gd name="T49" fmla="*/ 30726 h 93"/>
              <a:gd name="T50" fmla="*/ 2619 w 40"/>
              <a:gd name="T51" fmla="*/ 22737 h 93"/>
              <a:gd name="T52" fmla="*/ 3056 w 40"/>
              <a:gd name="T53" fmla="*/ 19050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6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95725" y="2047875"/>
            <a:ext cx="295275" cy="273050"/>
          </a:xfrm>
          <a:custGeom>
            <a:avLst/>
            <a:gdLst>
              <a:gd name="T0" fmla="*/ 66259 w 664"/>
              <a:gd name="T1" fmla="*/ 234570 h 518"/>
              <a:gd name="T2" fmla="*/ 67148 w 664"/>
              <a:gd name="T3" fmla="*/ 227190 h 518"/>
              <a:gd name="T4" fmla="*/ 64925 w 664"/>
              <a:gd name="T5" fmla="*/ 210849 h 518"/>
              <a:gd name="T6" fmla="*/ 67148 w 664"/>
              <a:gd name="T7" fmla="*/ 186075 h 518"/>
              <a:gd name="T8" fmla="*/ 64925 w 664"/>
              <a:gd name="T9" fmla="*/ 157083 h 518"/>
              <a:gd name="T10" fmla="*/ 59589 w 664"/>
              <a:gd name="T11" fmla="*/ 132308 h 518"/>
              <a:gd name="T12" fmla="*/ 48471 w 664"/>
              <a:gd name="T13" fmla="*/ 127037 h 518"/>
              <a:gd name="T14" fmla="*/ 8894 w 664"/>
              <a:gd name="T15" fmla="*/ 101208 h 518"/>
              <a:gd name="T16" fmla="*/ 10673 w 664"/>
              <a:gd name="T17" fmla="*/ 90138 h 518"/>
              <a:gd name="T18" fmla="*/ 16009 w 664"/>
              <a:gd name="T19" fmla="*/ 83813 h 518"/>
              <a:gd name="T20" fmla="*/ 21345 w 664"/>
              <a:gd name="T21" fmla="*/ 78014 h 518"/>
              <a:gd name="T22" fmla="*/ 44469 w 664"/>
              <a:gd name="T23" fmla="*/ 81704 h 518"/>
              <a:gd name="T24" fmla="*/ 55586 w 664"/>
              <a:gd name="T25" fmla="*/ 80123 h 518"/>
              <a:gd name="T26" fmla="*/ 65370 w 664"/>
              <a:gd name="T27" fmla="*/ 82758 h 518"/>
              <a:gd name="T28" fmla="*/ 73374 w 664"/>
              <a:gd name="T29" fmla="*/ 49550 h 518"/>
              <a:gd name="T30" fmla="*/ 82268 w 664"/>
              <a:gd name="T31" fmla="*/ 57456 h 518"/>
              <a:gd name="T32" fmla="*/ 92051 w 664"/>
              <a:gd name="T33" fmla="*/ 57984 h 518"/>
              <a:gd name="T34" fmla="*/ 104947 w 664"/>
              <a:gd name="T35" fmla="*/ 52185 h 518"/>
              <a:gd name="T36" fmla="*/ 117398 w 664"/>
              <a:gd name="T37" fmla="*/ 42170 h 518"/>
              <a:gd name="T38" fmla="*/ 128516 w 664"/>
              <a:gd name="T39" fmla="*/ 30046 h 518"/>
              <a:gd name="T40" fmla="*/ 136965 w 664"/>
              <a:gd name="T41" fmla="*/ 16868 h 518"/>
              <a:gd name="T42" fmla="*/ 141412 w 664"/>
              <a:gd name="T43" fmla="*/ 6325 h 518"/>
              <a:gd name="T44" fmla="*/ 164536 w 664"/>
              <a:gd name="T45" fmla="*/ 2108 h 518"/>
              <a:gd name="T46" fmla="*/ 179655 w 664"/>
              <a:gd name="T47" fmla="*/ 16868 h 518"/>
              <a:gd name="T48" fmla="*/ 203224 w 664"/>
              <a:gd name="T49" fmla="*/ 32155 h 518"/>
              <a:gd name="T50" fmla="*/ 227237 w 664"/>
              <a:gd name="T51" fmla="*/ 47441 h 518"/>
              <a:gd name="T52" fmla="*/ 245470 w 664"/>
              <a:gd name="T53" fmla="*/ 56402 h 518"/>
              <a:gd name="T54" fmla="*/ 257032 w 664"/>
              <a:gd name="T55" fmla="*/ 61146 h 518"/>
              <a:gd name="T56" fmla="*/ 277043 w 664"/>
              <a:gd name="T57" fmla="*/ 63782 h 518"/>
              <a:gd name="T58" fmla="*/ 292607 w 664"/>
              <a:gd name="T59" fmla="*/ 71689 h 518"/>
              <a:gd name="T60" fmla="*/ 286826 w 664"/>
              <a:gd name="T61" fmla="*/ 87503 h 518"/>
              <a:gd name="T62" fmla="*/ 275709 w 664"/>
              <a:gd name="T63" fmla="*/ 124401 h 518"/>
              <a:gd name="T64" fmla="*/ 265925 w 664"/>
              <a:gd name="T65" fmla="*/ 143378 h 518"/>
              <a:gd name="T66" fmla="*/ 260144 w 664"/>
              <a:gd name="T67" fmla="*/ 150757 h 518"/>
              <a:gd name="T68" fmla="*/ 266370 w 664"/>
              <a:gd name="T69" fmla="*/ 157083 h 518"/>
              <a:gd name="T70" fmla="*/ 274819 w 664"/>
              <a:gd name="T71" fmla="*/ 161827 h 518"/>
              <a:gd name="T72" fmla="*/ 277043 w 664"/>
              <a:gd name="T73" fmla="*/ 176059 h 518"/>
              <a:gd name="T74" fmla="*/ 275709 w 664"/>
              <a:gd name="T75" fmla="*/ 182912 h 518"/>
              <a:gd name="T76" fmla="*/ 274819 w 664"/>
              <a:gd name="T77" fmla="*/ 196090 h 518"/>
              <a:gd name="T78" fmla="*/ 276598 w 664"/>
              <a:gd name="T79" fmla="*/ 210322 h 518"/>
              <a:gd name="T80" fmla="*/ 281045 w 664"/>
              <a:gd name="T81" fmla="*/ 222973 h 518"/>
              <a:gd name="T82" fmla="*/ 270372 w 664"/>
              <a:gd name="T83" fmla="*/ 240895 h 518"/>
              <a:gd name="T84" fmla="*/ 253029 w 664"/>
              <a:gd name="T85" fmla="*/ 255128 h 518"/>
              <a:gd name="T86" fmla="*/ 241023 w 664"/>
              <a:gd name="T87" fmla="*/ 257763 h 518"/>
              <a:gd name="T88" fmla="*/ 226348 w 664"/>
              <a:gd name="T89" fmla="*/ 253546 h 518"/>
              <a:gd name="T90" fmla="*/ 212118 w 664"/>
              <a:gd name="T91" fmla="*/ 242477 h 518"/>
              <a:gd name="T92" fmla="*/ 205892 w 664"/>
              <a:gd name="T93" fmla="*/ 240368 h 518"/>
              <a:gd name="T94" fmla="*/ 196998 w 664"/>
              <a:gd name="T95" fmla="*/ 240895 h 518"/>
              <a:gd name="T96" fmla="*/ 188104 w 664"/>
              <a:gd name="T97" fmla="*/ 245112 h 518"/>
              <a:gd name="T98" fmla="*/ 180545 w 664"/>
              <a:gd name="T99" fmla="*/ 251438 h 518"/>
              <a:gd name="T100" fmla="*/ 172540 w 664"/>
              <a:gd name="T101" fmla="*/ 265143 h 518"/>
              <a:gd name="T102" fmla="*/ 171206 w 664"/>
              <a:gd name="T103" fmla="*/ 272523 h 518"/>
              <a:gd name="T104" fmla="*/ 148082 w 664"/>
              <a:gd name="T105" fmla="*/ 271469 h 518"/>
              <a:gd name="T106" fmla="*/ 140967 w 664"/>
              <a:gd name="T107" fmla="*/ 267252 h 518"/>
              <a:gd name="T108" fmla="*/ 136520 w 664"/>
              <a:gd name="T109" fmla="*/ 263562 h 518"/>
              <a:gd name="T110" fmla="*/ 131629 w 664"/>
              <a:gd name="T111" fmla="*/ 267779 h 518"/>
              <a:gd name="T112" fmla="*/ 127626 w 664"/>
              <a:gd name="T113" fmla="*/ 271996 h 518"/>
              <a:gd name="T114" fmla="*/ 119177 w 664"/>
              <a:gd name="T115" fmla="*/ 271996 h 518"/>
              <a:gd name="T116" fmla="*/ 100945 w 664"/>
              <a:gd name="T117" fmla="*/ 266725 h 518"/>
              <a:gd name="T118" fmla="*/ 82268 w 664"/>
              <a:gd name="T119" fmla="*/ 256709 h 518"/>
              <a:gd name="T120" fmla="*/ 71151 w 664"/>
              <a:gd name="T121" fmla="*/ 247221 h 518"/>
              <a:gd name="T122" fmla="*/ 64925 w 664"/>
              <a:gd name="T123" fmla="*/ 237206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47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142243 w 352"/>
              <a:gd name="T1" fmla="*/ 49098 h 153"/>
              <a:gd name="T2" fmla="*/ 150812 w 352"/>
              <a:gd name="T3" fmla="*/ 82550 h 153"/>
              <a:gd name="T4" fmla="*/ 139672 w 352"/>
              <a:gd name="T5" fmla="*/ 76075 h 153"/>
              <a:gd name="T6" fmla="*/ 128105 w 352"/>
              <a:gd name="T7" fmla="*/ 69601 h 153"/>
              <a:gd name="T8" fmla="*/ 113966 w 352"/>
              <a:gd name="T9" fmla="*/ 76075 h 153"/>
              <a:gd name="T10" fmla="*/ 99399 w 352"/>
              <a:gd name="T11" fmla="*/ 76075 h 153"/>
              <a:gd name="T12" fmla="*/ 97257 w 352"/>
              <a:gd name="T13" fmla="*/ 72838 h 153"/>
              <a:gd name="T14" fmla="*/ 96828 w 352"/>
              <a:gd name="T15" fmla="*/ 72838 h 153"/>
              <a:gd name="T16" fmla="*/ 93829 w 352"/>
              <a:gd name="T17" fmla="*/ 69601 h 153"/>
              <a:gd name="T18" fmla="*/ 91258 w 352"/>
              <a:gd name="T19" fmla="*/ 67443 h 153"/>
              <a:gd name="T20" fmla="*/ 87831 w 352"/>
              <a:gd name="T21" fmla="*/ 65285 h 153"/>
              <a:gd name="T22" fmla="*/ 84403 w 352"/>
              <a:gd name="T23" fmla="*/ 63666 h 153"/>
              <a:gd name="T24" fmla="*/ 77548 w 352"/>
              <a:gd name="T25" fmla="*/ 60968 h 153"/>
              <a:gd name="T26" fmla="*/ 69836 w 352"/>
              <a:gd name="T27" fmla="*/ 59350 h 153"/>
              <a:gd name="T28" fmla="*/ 53984 w 352"/>
              <a:gd name="T29" fmla="*/ 57731 h 153"/>
              <a:gd name="T30" fmla="*/ 36846 w 352"/>
              <a:gd name="T31" fmla="*/ 56112 h 153"/>
              <a:gd name="T32" fmla="*/ 36418 w 352"/>
              <a:gd name="T33" fmla="*/ 50717 h 153"/>
              <a:gd name="T34" fmla="*/ 35132 w 352"/>
              <a:gd name="T35" fmla="*/ 45322 h 153"/>
              <a:gd name="T36" fmla="*/ 34275 w 352"/>
              <a:gd name="T37" fmla="*/ 40466 h 153"/>
              <a:gd name="T38" fmla="*/ 32133 w 352"/>
              <a:gd name="T39" fmla="*/ 36149 h 153"/>
              <a:gd name="T40" fmla="*/ 30419 w 352"/>
              <a:gd name="T41" fmla="*/ 31833 h 153"/>
              <a:gd name="T42" fmla="*/ 28706 w 352"/>
              <a:gd name="T43" fmla="*/ 28056 h 153"/>
              <a:gd name="T44" fmla="*/ 26135 w 352"/>
              <a:gd name="T45" fmla="*/ 23740 h 153"/>
              <a:gd name="T46" fmla="*/ 23993 w 352"/>
              <a:gd name="T47" fmla="*/ 19963 h 153"/>
              <a:gd name="T48" fmla="*/ 18852 w 352"/>
              <a:gd name="T49" fmla="*/ 14028 h 153"/>
              <a:gd name="T50" fmla="*/ 12425 w 352"/>
              <a:gd name="T51" fmla="*/ 8633 h 153"/>
              <a:gd name="T52" fmla="*/ 6427 w 352"/>
              <a:gd name="T53" fmla="*/ 3777 h 153"/>
              <a:gd name="T54" fmla="*/ 0 w 352"/>
              <a:gd name="T55" fmla="*/ 0 h 153"/>
              <a:gd name="T56" fmla="*/ 2999 w 352"/>
              <a:gd name="T57" fmla="*/ 0 h 153"/>
              <a:gd name="T58" fmla="*/ 25707 w 352"/>
              <a:gd name="T59" fmla="*/ 9712 h 153"/>
              <a:gd name="T60" fmla="*/ 45415 w 352"/>
              <a:gd name="T61" fmla="*/ 16186 h 153"/>
              <a:gd name="T62" fmla="*/ 57411 w 352"/>
              <a:gd name="T63" fmla="*/ 9712 h 153"/>
              <a:gd name="T64" fmla="*/ 77120 w 352"/>
              <a:gd name="T65" fmla="*/ 19424 h 153"/>
              <a:gd name="T66" fmla="*/ 88259 w 352"/>
              <a:gd name="T67" fmla="*/ 29675 h 153"/>
              <a:gd name="T68" fmla="*/ 105397 w 352"/>
              <a:gd name="T69" fmla="*/ 26438 h 153"/>
              <a:gd name="T70" fmla="*/ 122535 w 352"/>
              <a:gd name="T71" fmla="*/ 32912 h 153"/>
              <a:gd name="T72" fmla="*/ 134103 w 352"/>
              <a:gd name="T73" fmla="*/ 42624 h 153"/>
              <a:gd name="T74" fmla="*/ 142243 w 352"/>
              <a:gd name="T75" fmla="*/ 49098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48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102588 w 331"/>
              <a:gd name="T1" fmla="*/ 21167 h 327"/>
              <a:gd name="T2" fmla="*/ 86084 w 331"/>
              <a:gd name="T3" fmla="*/ 29633 h 327"/>
              <a:gd name="T4" fmla="*/ 81178 w 331"/>
              <a:gd name="T5" fmla="*/ 35454 h 327"/>
              <a:gd name="T6" fmla="*/ 80732 w 331"/>
              <a:gd name="T7" fmla="*/ 42863 h 327"/>
              <a:gd name="T8" fmla="*/ 82070 w 331"/>
              <a:gd name="T9" fmla="*/ 49742 h 327"/>
              <a:gd name="T10" fmla="*/ 78948 w 331"/>
              <a:gd name="T11" fmla="*/ 53975 h 327"/>
              <a:gd name="T12" fmla="*/ 74934 w 331"/>
              <a:gd name="T13" fmla="*/ 55563 h 327"/>
              <a:gd name="T14" fmla="*/ 71365 w 331"/>
              <a:gd name="T15" fmla="*/ 51858 h 327"/>
              <a:gd name="T16" fmla="*/ 66459 w 331"/>
              <a:gd name="T17" fmla="*/ 44979 h 327"/>
              <a:gd name="T18" fmla="*/ 56200 w 331"/>
              <a:gd name="T19" fmla="*/ 39158 h 327"/>
              <a:gd name="T20" fmla="*/ 56646 w 331"/>
              <a:gd name="T21" fmla="*/ 50800 h 327"/>
              <a:gd name="T22" fmla="*/ 61999 w 331"/>
              <a:gd name="T23" fmla="*/ 61384 h 327"/>
              <a:gd name="T24" fmla="*/ 68689 w 331"/>
              <a:gd name="T25" fmla="*/ 68263 h 327"/>
              <a:gd name="T26" fmla="*/ 70919 w 331"/>
              <a:gd name="T27" fmla="*/ 68792 h 327"/>
              <a:gd name="T28" fmla="*/ 70919 w 331"/>
              <a:gd name="T29" fmla="*/ 93663 h 327"/>
              <a:gd name="T30" fmla="*/ 70919 w 331"/>
              <a:gd name="T31" fmla="*/ 125413 h 327"/>
              <a:gd name="T32" fmla="*/ 69581 w 331"/>
              <a:gd name="T33" fmla="*/ 132821 h 327"/>
              <a:gd name="T34" fmla="*/ 65567 w 331"/>
              <a:gd name="T35" fmla="*/ 137055 h 327"/>
              <a:gd name="T36" fmla="*/ 64675 w 331"/>
              <a:gd name="T37" fmla="*/ 139700 h 327"/>
              <a:gd name="T38" fmla="*/ 72257 w 331"/>
              <a:gd name="T39" fmla="*/ 146050 h 327"/>
              <a:gd name="T40" fmla="*/ 74488 w 331"/>
              <a:gd name="T41" fmla="*/ 151342 h 327"/>
              <a:gd name="T42" fmla="*/ 69135 w 331"/>
              <a:gd name="T43" fmla="*/ 156105 h 327"/>
              <a:gd name="T44" fmla="*/ 62445 w 331"/>
              <a:gd name="T45" fmla="*/ 157163 h 327"/>
              <a:gd name="T46" fmla="*/ 57984 w 331"/>
              <a:gd name="T47" fmla="*/ 162455 h 327"/>
              <a:gd name="T48" fmla="*/ 56200 w 331"/>
              <a:gd name="T49" fmla="*/ 169863 h 327"/>
              <a:gd name="T50" fmla="*/ 53970 w 331"/>
              <a:gd name="T51" fmla="*/ 158750 h 327"/>
              <a:gd name="T52" fmla="*/ 55308 w 331"/>
              <a:gd name="T53" fmla="*/ 152400 h 327"/>
              <a:gd name="T54" fmla="*/ 48618 w 331"/>
              <a:gd name="T55" fmla="*/ 151342 h 327"/>
              <a:gd name="T56" fmla="*/ 41481 w 331"/>
              <a:gd name="T57" fmla="*/ 154517 h 327"/>
              <a:gd name="T58" fmla="*/ 35237 w 331"/>
              <a:gd name="T59" fmla="*/ 156634 h 327"/>
              <a:gd name="T60" fmla="*/ 32560 w 331"/>
              <a:gd name="T61" fmla="*/ 128059 h 327"/>
              <a:gd name="T62" fmla="*/ 35237 w 331"/>
              <a:gd name="T63" fmla="*/ 114300 h 327"/>
              <a:gd name="T64" fmla="*/ 21410 w 331"/>
              <a:gd name="T65" fmla="*/ 111654 h 327"/>
              <a:gd name="T66" fmla="*/ 12489 w 331"/>
              <a:gd name="T67" fmla="*/ 104775 h 327"/>
              <a:gd name="T68" fmla="*/ 5798 w 331"/>
              <a:gd name="T69" fmla="*/ 91546 h 327"/>
              <a:gd name="T70" fmla="*/ 0 w 331"/>
              <a:gd name="T71" fmla="*/ 68792 h 327"/>
              <a:gd name="T72" fmla="*/ 12489 w 331"/>
              <a:gd name="T73" fmla="*/ 58738 h 327"/>
              <a:gd name="T74" fmla="*/ 22302 w 331"/>
              <a:gd name="T75" fmla="*/ 42863 h 327"/>
              <a:gd name="T76" fmla="*/ 32560 w 331"/>
              <a:gd name="T77" fmla="*/ 29104 h 327"/>
              <a:gd name="T78" fmla="*/ 51294 w 331"/>
              <a:gd name="T79" fmla="*/ 21696 h 327"/>
              <a:gd name="T80" fmla="*/ 80286 w 331"/>
              <a:gd name="T81" fmla="*/ 7408 h 327"/>
              <a:gd name="T82" fmla="*/ 97235 w 331"/>
              <a:gd name="T83" fmla="*/ 3704 h 327"/>
              <a:gd name="T84" fmla="*/ 111062 w 331"/>
              <a:gd name="T85" fmla="*/ 7408 h 327"/>
              <a:gd name="T86" fmla="*/ 120875 w 331"/>
              <a:gd name="T87" fmla="*/ 14288 h 327"/>
              <a:gd name="T88" fmla="*/ 130242 w 331"/>
              <a:gd name="T89" fmla="*/ 15875 h 327"/>
              <a:gd name="T90" fmla="*/ 136932 w 331"/>
              <a:gd name="T91" fmla="*/ 10583 h 327"/>
              <a:gd name="T92" fmla="*/ 145853 w 331"/>
              <a:gd name="T93" fmla="*/ 3175 h 327"/>
              <a:gd name="T94" fmla="*/ 147191 w 331"/>
              <a:gd name="T95" fmla="*/ 16933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49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20088 w 153"/>
              <a:gd name="T3" fmla="*/ 2333 h 49"/>
              <a:gd name="T4" fmla="*/ 37892 w 153"/>
              <a:gd name="T5" fmla="*/ 6998 h 49"/>
              <a:gd name="T6" fmla="*/ 47023 w 153"/>
              <a:gd name="T7" fmla="*/ 9331 h 49"/>
              <a:gd name="T8" fmla="*/ 55241 w 153"/>
              <a:gd name="T9" fmla="*/ 8164 h 49"/>
              <a:gd name="T10" fmla="*/ 59350 w 153"/>
              <a:gd name="T11" fmla="*/ 6998 h 49"/>
              <a:gd name="T12" fmla="*/ 62545 w 153"/>
              <a:gd name="T13" fmla="*/ 5832 h 49"/>
              <a:gd name="T14" fmla="*/ 66198 w 153"/>
              <a:gd name="T15" fmla="*/ 3499 h 49"/>
              <a:gd name="T16" fmla="*/ 69850 w 153"/>
              <a:gd name="T17" fmla="*/ 0 h 49"/>
              <a:gd name="T18" fmla="*/ 69850 w 153"/>
              <a:gd name="T19" fmla="*/ 10497 h 49"/>
              <a:gd name="T20" fmla="*/ 69850 w 153"/>
              <a:gd name="T21" fmla="*/ 29158 h 49"/>
              <a:gd name="T22" fmla="*/ 65285 w 153"/>
              <a:gd name="T23" fmla="*/ 36156 h 49"/>
              <a:gd name="T24" fmla="*/ 60719 w 153"/>
              <a:gd name="T25" fmla="*/ 41988 h 49"/>
              <a:gd name="T26" fmla="*/ 56610 w 153"/>
              <a:gd name="T27" fmla="*/ 46653 h 49"/>
              <a:gd name="T28" fmla="*/ 52045 w 153"/>
              <a:gd name="T29" fmla="*/ 51318 h 49"/>
              <a:gd name="T30" fmla="*/ 48393 w 153"/>
              <a:gd name="T31" fmla="*/ 53651 h 49"/>
              <a:gd name="T32" fmla="*/ 45197 w 153"/>
              <a:gd name="T33" fmla="*/ 55984 h 49"/>
              <a:gd name="T34" fmla="*/ 42001 w 153"/>
              <a:gd name="T35" fmla="*/ 57150 h 49"/>
              <a:gd name="T36" fmla="*/ 39719 w 153"/>
              <a:gd name="T37" fmla="*/ 57150 h 49"/>
              <a:gd name="T38" fmla="*/ 32871 w 153"/>
              <a:gd name="T39" fmla="*/ 55984 h 49"/>
              <a:gd name="T40" fmla="*/ 27392 w 153"/>
              <a:gd name="T41" fmla="*/ 53651 h 49"/>
              <a:gd name="T42" fmla="*/ 22827 w 153"/>
              <a:gd name="T43" fmla="*/ 50152 h 49"/>
              <a:gd name="T44" fmla="*/ 18718 w 153"/>
              <a:gd name="T45" fmla="*/ 44320 h 49"/>
              <a:gd name="T46" fmla="*/ 10044 w 153"/>
              <a:gd name="T47" fmla="*/ 33823 h 49"/>
              <a:gd name="T48" fmla="*/ 0 w 153"/>
              <a:gd name="T49" fmla="*/ 22160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0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85308 w 426"/>
              <a:gd name="T1" fmla="*/ 8495 h 299"/>
              <a:gd name="T2" fmla="*/ 94982 w 426"/>
              <a:gd name="T3" fmla="*/ 11681 h 299"/>
              <a:gd name="T4" fmla="*/ 101138 w 426"/>
              <a:gd name="T5" fmla="*/ 15397 h 299"/>
              <a:gd name="T6" fmla="*/ 111252 w 426"/>
              <a:gd name="T7" fmla="*/ 18583 h 299"/>
              <a:gd name="T8" fmla="*/ 122685 w 426"/>
              <a:gd name="T9" fmla="*/ 19645 h 299"/>
              <a:gd name="T10" fmla="*/ 131919 w 426"/>
              <a:gd name="T11" fmla="*/ 19645 h 299"/>
              <a:gd name="T12" fmla="*/ 140274 w 426"/>
              <a:gd name="T13" fmla="*/ 18052 h 299"/>
              <a:gd name="T14" fmla="*/ 144671 w 426"/>
              <a:gd name="T15" fmla="*/ 15397 h 299"/>
              <a:gd name="T16" fmla="*/ 160501 w 426"/>
              <a:gd name="T17" fmla="*/ 13273 h 299"/>
              <a:gd name="T18" fmla="*/ 163580 w 426"/>
              <a:gd name="T19" fmla="*/ 26016 h 299"/>
              <a:gd name="T20" fmla="*/ 168417 w 426"/>
              <a:gd name="T21" fmla="*/ 39289 h 299"/>
              <a:gd name="T22" fmla="*/ 171934 w 426"/>
              <a:gd name="T23" fmla="*/ 44599 h 299"/>
              <a:gd name="T24" fmla="*/ 175892 w 426"/>
              <a:gd name="T25" fmla="*/ 48846 h 299"/>
              <a:gd name="T26" fmla="*/ 181169 w 426"/>
              <a:gd name="T27" fmla="*/ 51501 h 299"/>
              <a:gd name="T28" fmla="*/ 186885 w 426"/>
              <a:gd name="T29" fmla="*/ 52563 h 299"/>
              <a:gd name="T30" fmla="*/ 186885 w 426"/>
              <a:gd name="T31" fmla="*/ 63712 h 299"/>
              <a:gd name="T32" fmla="*/ 186885 w 426"/>
              <a:gd name="T33" fmla="*/ 75393 h 299"/>
              <a:gd name="T34" fmla="*/ 182928 w 426"/>
              <a:gd name="T35" fmla="*/ 83888 h 299"/>
              <a:gd name="T36" fmla="*/ 181169 w 426"/>
              <a:gd name="T37" fmla="*/ 90259 h 299"/>
              <a:gd name="T38" fmla="*/ 181169 w 426"/>
              <a:gd name="T39" fmla="*/ 96099 h 299"/>
              <a:gd name="T40" fmla="*/ 182488 w 426"/>
              <a:gd name="T41" fmla="*/ 100878 h 299"/>
              <a:gd name="T42" fmla="*/ 186006 w 426"/>
              <a:gd name="T43" fmla="*/ 112028 h 299"/>
              <a:gd name="T44" fmla="*/ 187325 w 426"/>
              <a:gd name="T45" fmla="*/ 119992 h 299"/>
              <a:gd name="T46" fmla="*/ 186885 w 426"/>
              <a:gd name="T47" fmla="*/ 131141 h 299"/>
              <a:gd name="T48" fmla="*/ 187325 w 426"/>
              <a:gd name="T49" fmla="*/ 145477 h 299"/>
              <a:gd name="T50" fmla="*/ 186006 w 426"/>
              <a:gd name="T51" fmla="*/ 151317 h 299"/>
              <a:gd name="T52" fmla="*/ 181169 w 426"/>
              <a:gd name="T53" fmla="*/ 157157 h 299"/>
              <a:gd name="T54" fmla="*/ 167097 w 426"/>
              <a:gd name="T55" fmla="*/ 158219 h 299"/>
              <a:gd name="T56" fmla="*/ 162700 w 426"/>
              <a:gd name="T57" fmla="*/ 158750 h 299"/>
              <a:gd name="T58" fmla="*/ 158303 w 426"/>
              <a:gd name="T59" fmla="*/ 157157 h 299"/>
              <a:gd name="T60" fmla="*/ 154345 w 426"/>
              <a:gd name="T61" fmla="*/ 153972 h 299"/>
              <a:gd name="T62" fmla="*/ 148629 w 426"/>
              <a:gd name="T63" fmla="*/ 147600 h 299"/>
              <a:gd name="T64" fmla="*/ 142473 w 426"/>
              <a:gd name="T65" fmla="*/ 138574 h 299"/>
              <a:gd name="T66" fmla="*/ 136756 w 426"/>
              <a:gd name="T67" fmla="*/ 134327 h 299"/>
              <a:gd name="T68" fmla="*/ 129281 w 426"/>
              <a:gd name="T69" fmla="*/ 133265 h 299"/>
              <a:gd name="T70" fmla="*/ 122245 w 426"/>
              <a:gd name="T71" fmla="*/ 123177 h 299"/>
              <a:gd name="T72" fmla="*/ 120486 w 426"/>
              <a:gd name="T73" fmla="*/ 111497 h 299"/>
              <a:gd name="T74" fmla="*/ 118287 w 426"/>
              <a:gd name="T75" fmla="*/ 104594 h 299"/>
              <a:gd name="T76" fmla="*/ 114770 w 426"/>
              <a:gd name="T77" fmla="*/ 97692 h 299"/>
              <a:gd name="T78" fmla="*/ 110372 w 426"/>
              <a:gd name="T79" fmla="*/ 91852 h 299"/>
              <a:gd name="T80" fmla="*/ 104656 w 426"/>
              <a:gd name="T81" fmla="*/ 87605 h 299"/>
              <a:gd name="T82" fmla="*/ 97620 w 426"/>
              <a:gd name="T83" fmla="*/ 85481 h 299"/>
              <a:gd name="T84" fmla="*/ 89705 w 426"/>
              <a:gd name="T85" fmla="*/ 85481 h 299"/>
              <a:gd name="T86" fmla="*/ 82669 w 426"/>
              <a:gd name="T87" fmla="*/ 86543 h 299"/>
              <a:gd name="T88" fmla="*/ 76073 w 426"/>
              <a:gd name="T89" fmla="*/ 89197 h 299"/>
              <a:gd name="T90" fmla="*/ 70357 w 426"/>
              <a:gd name="T91" fmla="*/ 93445 h 299"/>
              <a:gd name="T92" fmla="*/ 62002 w 426"/>
              <a:gd name="T93" fmla="*/ 101409 h 299"/>
              <a:gd name="T94" fmla="*/ 51888 w 426"/>
              <a:gd name="T95" fmla="*/ 114151 h 299"/>
              <a:gd name="T96" fmla="*/ 46172 w 426"/>
              <a:gd name="T97" fmla="*/ 115744 h 299"/>
              <a:gd name="T98" fmla="*/ 43973 w 426"/>
              <a:gd name="T99" fmla="*/ 106718 h 299"/>
              <a:gd name="T100" fmla="*/ 39576 w 426"/>
              <a:gd name="T101" fmla="*/ 98754 h 299"/>
              <a:gd name="T102" fmla="*/ 33419 w 426"/>
              <a:gd name="T103" fmla="*/ 90790 h 299"/>
              <a:gd name="T104" fmla="*/ 21987 w 426"/>
              <a:gd name="T105" fmla="*/ 81233 h 299"/>
              <a:gd name="T106" fmla="*/ 10554 w 426"/>
              <a:gd name="T107" fmla="*/ 71145 h 299"/>
              <a:gd name="T108" fmla="*/ 3518 w 426"/>
              <a:gd name="T109" fmla="*/ 63181 h 299"/>
              <a:gd name="T110" fmla="*/ 6596 w 426"/>
              <a:gd name="T111" fmla="*/ 53625 h 299"/>
              <a:gd name="T112" fmla="*/ 20228 w 426"/>
              <a:gd name="T113" fmla="*/ 40882 h 299"/>
              <a:gd name="T114" fmla="*/ 32980 w 426"/>
              <a:gd name="T115" fmla="*/ 25485 h 299"/>
              <a:gd name="T116" fmla="*/ 43094 w 426"/>
              <a:gd name="T117" fmla="*/ 9026 h 299"/>
              <a:gd name="T118" fmla="*/ 78712 w 426"/>
              <a:gd name="T119" fmla="*/ 6902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1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207124 w 1594"/>
              <a:gd name="T1" fmla="*/ 56044 h 1670"/>
              <a:gd name="T2" fmla="*/ 210598 w 1594"/>
              <a:gd name="T3" fmla="*/ 96899 h 1670"/>
              <a:gd name="T4" fmla="*/ 250980 w 1594"/>
              <a:gd name="T5" fmla="*/ 150325 h 1670"/>
              <a:gd name="T6" fmla="*/ 304390 w 1594"/>
              <a:gd name="T7" fmla="*/ 240415 h 1670"/>
              <a:gd name="T8" fmla="*/ 345207 w 1594"/>
              <a:gd name="T9" fmla="*/ 261366 h 1670"/>
              <a:gd name="T10" fmla="*/ 380813 w 1594"/>
              <a:gd name="T11" fmla="*/ 258224 h 1670"/>
              <a:gd name="T12" fmla="*/ 403827 w 1594"/>
              <a:gd name="T13" fmla="*/ 281270 h 1670"/>
              <a:gd name="T14" fmla="*/ 478513 w 1594"/>
              <a:gd name="T15" fmla="*/ 296983 h 1670"/>
              <a:gd name="T16" fmla="*/ 486763 w 1594"/>
              <a:gd name="T17" fmla="*/ 241463 h 1670"/>
              <a:gd name="T18" fmla="*/ 511948 w 1594"/>
              <a:gd name="T19" fmla="*/ 282318 h 1670"/>
              <a:gd name="T20" fmla="*/ 539738 w 1594"/>
              <a:gd name="T21" fmla="*/ 293841 h 1670"/>
              <a:gd name="T22" fmla="*/ 564054 w 1594"/>
              <a:gd name="T23" fmla="*/ 260843 h 1670"/>
              <a:gd name="T24" fmla="*/ 609648 w 1594"/>
              <a:gd name="T25" fmla="*/ 214226 h 1670"/>
              <a:gd name="T26" fmla="*/ 672610 w 1594"/>
              <a:gd name="T27" fmla="*/ 224178 h 1670"/>
              <a:gd name="T28" fmla="*/ 685637 w 1594"/>
              <a:gd name="T29" fmla="*/ 260843 h 1670"/>
              <a:gd name="T30" fmla="*/ 653070 w 1594"/>
              <a:gd name="T31" fmla="*/ 283889 h 1670"/>
              <a:gd name="T32" fmla="*/ 644820 w 1594"/>
              <a:gd name="T33" fmla="*/ 355647 h 1670"/>
              <a:gd name="T34" fmla="*/ 620503 w 1594"/>
              <a:gd name="T35" fmla="*/ 368741 h 1670"/>
              <a:gd name="T36" fmla="*/ 611385 w 1594"/>
              <a:gd name="T37" fmla="*/ 426357 h 1670"/>
              <a:gd name="T38" fmla="*/ 573607 w 1594"/>
              <a:gd name="T39" fmla="*/ 394930 h 1670"/>
              <a:gd name="T40" fmla="*/ 574476 w 1594"/>
              <a:gd name="T41" fmla="*/ 365599 h 1670"/>
              <a:gd name="T42" fmla="*/ 531922 w 1594"/>
              <a:gd name="T43" fmla="*/ 334172 h 1670"/>
              <a:gd name="T44" fmla="*/ 515422 w 1594"/>
              <a:gd name="T45" fmla="*/ 307983 h 1670"/>
              <a:gd name="T46" fmla="*/ 491105 w 1594"/>
              <a:gd name="T47" fmla="*/ 301174 h 1670"/>
              <a:gd name="T48" fmla="*/ 489368 w 1594"/>
              <a:gd name="T49" fmla="*/ 327363 h 1670"/>
              <a:gd name="T50" fmla="*/ 485026 w 1594"/>
              <a:gd name="T51" fmla="*/ 357742 h 1670"/>
              <a:gd name="T52" fmla="*/ 503698 w 1594"/>
              <a:gd name="T53" fmla="*/ 384978 h 1670"/>
              <a:gd name="T54" fmla="*/ 498921 w 1594"/>
              <a:gd name="T55" fmla="*/ 441547 h 1670"/>
              <a:gd name="T56" fmla="*/ 466789 w 1594"/>
              <a:gd name="T57" fmla="*/ 452546 h 1670"/>
              <a:gd name="T58" fmla="*/ 455499 w 1594"/>
              <a:gd name="T59" fmla="*/ 490782 h 1670"/>
              <a:gd name="T60" fmla="*/ 414248 w 1594"/>
              <a:gd name="T61" fmla="*/ 524304 h 1670"/>
              <a:gd name="T62" fmla="*/ 396011 w 1594"/>
              <a:gd name="T63" fmla="*/ 549969 h 1670"/>
              <a:gd name="T64" fmla="*/ 338693 w 1594"/>
              <a:gd name="T65" fmla="*/ 622251 h 1670"/>
              <a:gd name="T66" fmla="*/ 313943 w 1594"/>
              <a:gd name="T67" fmla="*/ 645821 h 1670"/>
              <a:gd name="T68" fmla="*/ 323061 w 1594"/>
              <a:gd name="T69" fmla="*/ 703961 h 1670"/>
              <a:gd name="T70" fmla="*/ 309166 w 1594"/>
              <a:gd name="T71" fmla="*/ 756862 h 1670"/>
              <a:gd name="T72" fmla="*/ 313508 w 1594"/>
              <a:gd name="T73" fmla="*/ 798241 h 1670"/>
              <a:gd name="T74" fmla="*/ 300916 w 1594"/>
              <a:gd name="T75" fmla="*/ 825478 h 1670"/>
              <a:gd name="T76" fmla="*/ 258362 w 1594"/>
              <a:gd name="T77" fmla="*/ 871047 h 1670"/>
              <a:gd name="T78" fmla="*/ 224059 w 1594"/>
              <a:gd name="T79" fmla="*/ 800860 h 1670"/>
              <a:gd name="T80" fmla="*/ 181939 w 1594"/>
              <a:gd name="T81" fmla="*/ 698723 h 1670"/>
              <a:gd name="T82" fmla="*/ 130701 w 1594"/>
              <a:gd name="T83" fmla="*/ 583491 h 1670"/>
              <a:gd name="T84" fmla="*/ 112464 w 1594"/>
              <a:gd name="T85" fmla="*/ 450975 h 1670"/>
              <a:gd name="T86" fmla="*/ 99871 w 1594"/>
              <a:gd name="T87" fmla="*/ 426357 h 1670"/>
              <a:gd name="T88" fmla="*/ 71212 w 1594"/>
              <a:gd name="T89" fmla="*/ 471402 h 1670"/>
              <a:gd name="T90" fmla="*/ 39080 w 1594"/>
              <a:gd name="T91" fmla="*/ 458831 h 1670"/>
              <a:gd name="T92" fmla="*/ 22145 w 1594"/>
              <a:gd name="T93" fmla="*/ 417977 h 1670"/>
              <a:gd name="T94" fmla="*/ 13027 w 1594"/>
              <a:gd name="T95" fmla="*/ 403835 h 1670"/>
              <a:gd name="T96" fmla="*/ 13895 w 1594"/>
              <a:gd name="T97" fmla="*/ 370836 h 1670"/>
              <a:gd name="T98" fmla="*/ 69041 w 1594"/>
              <a:gd name="T99" fmla="*/ 345171 h 1670"/>
              <a:gd name="T100" fmla="*/ 39948 w 1594"/>
              <a:gd name="T101" fmla="*/ 298031 h 1670"/>
              <a:gd name="T102" fmla="*/ 25619 w 1594"/>
              <a:gd name="T103" fmla="*/ 261890 h 1670"/>
              <a:gd name="T104" fmla="*/ 70344 w 1594"/>
              <a:gd name="T105" fmla="*/ 240415 h 1670"/>
              <a:gd name="T106" fmla="*/ 117240 w 1594"/>
              <a:gd name="T107" fmla="*/ 153991 h 1670"/>
              <a:gd name="T108" fmla="*/ 118977 w 1594"/>
              <a:gd name="T109" fmla="*/ 120469 h 1670"/>
              <a:gd name="T110" fmla="*/ 98568 w 1594"/>
              <a:gd name="T111" fmla="*/ 74377 h 1670"/>
              <a:gd name="T112" fmla="*/ 139820 w 1594"/>
              <a:gd name="T113" fmla="*/ 28284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2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23437 w 359"/>
              <a:gd name="T1" fmla="*/ 200089 h 394"/>
              <a:gd name="T2" fmla="*/ 23437 w 359"/>
              <a:gd name="T3" fmla="*/ 187518 h 394"/>
              <a:gd name="T4" fmla="*/ 23437 w 359"/>
              <a:gd name="T5" fmla="*/ 174424 h 394"/>
              <a:gd name="T6" fmla="*/ 22110 w 359"/>
              <a:gd name="T7" fmla="*/ 163424 h 394"/>
              <a:gd name="T8" fmla="*/ 19015 w 359"/>
              <a:gd name="T9" fmla="*/ 153472 h 394"/>
              <a:gd name="T10" fmla="*/ 15477 w 359"/>
              <a:gd name="T11" fmla="*/ 145091 h 394"/>
              <a:gd name="T12" fmla="*/ 5749 w 359"/>
              <a:gd name="T13" fmla="*/ 128330 h 394"/>
              <a:gd name="T14" fmla="*/ 0 w 359"/>
              <a:gd name="T15" fmla="*/ 96902 h 394"/>
              <a:gd name="T16" fmla="*/ 14593 w 359"/>
              <a:gd name="T17" fmla="*/ 94807 h 394"/>
              <a:gd name="T18" fmla="*/ 17688 w 359"/>
              <a:gd name="T19" fmla="*/ 88521 h 394"/>
              <a:gd name="T20" fmla="*/ 18130 w 359"/>
              <a:gd name="T21" fmla="*/ 78569 h 394"/>
              <a:gd name="T22" fmla="*/ 16804 w 359"/>
              <a:gd name="T23" fmla="*/ 56046 h 394"/>
              <a:gd name="T24" fmla="*/ 13708 w 359"/>
              <a:gd name="T25" fmla="*/ 34047 h 394"/>
              <a:gd name="T26" fmla="*/ 14150 w 359"/>
              <a:gd name="T27" fmla="*/ 24618 h 394"/>
              <a:gd name="T28" fmla="*/ 15919 w 359"/>
              <a:gd name="T29" fmla="*/ 18857 h 394"/>
              <a:gd name="T30" fmla="*/ 53064 w 359"/>
              <a:gd name="T31" fmla="*/ 16238 h 394"/>
              <a:gd name="T32" fmla="*/ 53948 w 359"/>
              <a:gd name="T33" fmla="*/ 11523 h 394"/>
              <a:gd name="T34" fmla="*/ 56602 w 359"/>
              <a:gd name="T35" fmla="*/ 7333 h 394"/>
              <a:gd name="T36" fmla="*/ 61908 w 359"/>
              <a:gd name="T37" fmla="*/ 0 h 394"/>
              <a:gd name="T38" fmla="*/ 62792 w 359"/>
              <a:gd name="T39" fmla="*/ 9428 h 394"/>
              <a:gd name="T40" fmla="*/ 62792 w 359"/>
              <a:gd name="T41" fmla="*/ 13619 h 394"/>
              <a:gd name="T42" fmla="*/ 61908 w 359"/>
              <a:gd name="T43" fmla="*/ 16238 h 394"/>
              <a:gd name="T44" fmla="*/ 74290 w 359"/>
              <a:gd name="T45" fmla="*/ 16238 h 394"/>
              <a:gd name="T46" fmla="*/ 82249 w 359"/>
              <a:gd name="T47" fmla="*/ 16238 h 394"/>
              <a:gd name="T48" fmla="*/ 94631 w 359"/>
              <a:gd name="T49" fmla="*/ 19904 h 394"/>
              <a:gd name="T50" fmla="*/ 103033 w 359"/>
              <a:gd name="T51" fmla="*/ 25666 h 394"/>
              <a:gd name="T52" fmla="*/ 108781 w 359"/>
              <a:gd name="T53" fmla="*/ 30380 h 394"/>
              <a:gd name="T54" fmla="*/ 114530 w 359"/>
              <a:gd name="T55" fmla="*/ 31951 h 394"/>
              <a:gd name="T56" fmla="*/ 118510 w 359"/>
              <a:gd name="T57" fmla="*/ 30904 h 394"/>
              <a:gd name="T58" fmla="*/ 121605 w 359"/>
              <a:gd name="T59" fmla="*/ 28285 h 394"/>
              <a:gd name="T60" fmla="*/ 126469 w 359"/>
              <a:gd name="T61" fmla="*/ 19380 h 394"/>
              <a:gd name="T62" fmla="*/ 137967 w 359"/>
              <a:gd name="T63" fmla="*/ 27237 h 394"/>
              <a:gd name="T64" fmla="*/ 143715 w 359"/>
              <a:gd name="T65" fmla="*/ 30904 h 394"/>
              <a:gd name="T66" fmla="*/ 149464 w 359"/>
              <a:gd name="T67" fmla="*/ 31951 h 394"/>
              <a:gd name="T68" fmla="*/ 156097 w 359"/>
              <a:gd name="T69" fmla="*/ 84331 h 394"/>
              <a:gd name="T70" fmla="*/ 149464 w 359"/>
              <a:gd name="T71" fmla="*/ 96902 h 394"/>
              <a:gd name="T72" fmla="*/ 142831 w 359"/>
              <a:gd name="T73" fmla="*/ 107902 h 394"/>
              <a:gd name="T74" fmla="*/ 139293 w 359"/>
              <a:gd name="T75" fmla="*/ 117330 h 394"/>
              <a:gd name="T76" fmla="*/ 138409 w 359"/>
              <a:gd name="T77" fmla="*/ 125187 h 394"/>
              <a:gd name="T78" fmla="*/ 138409 w 359"/>
              <a:gd name="T79" fmla="*/ 133568 h 394"/>
              <a:gd name="T80" fmla="*/ 141946 w 359"/>
              <a:gd name="T81" fmla="*/ 142996 h 394"/>
              <a:gd name="T82" fmla="*/ 146368 w 359"/>
              <a:gd name="T83" fmla="*/ 153472 h 394"/>
              <a:gd name="T84" fmla="*/ 149022 w 359"/>
              <a:gd name="T85" fmla="*/ 161852 h 394"/>
              <a:gd name="T86" fmla="*/ 149022 w 359"/>
              <a:gd name="T87" fmla="*/ 168138 h 394"/>
              <a:gd name="T88" fmla="*/ 145926 w 359"/>
              <a:gd name="T89" fmla="*/ 176519 h 394"/>
              <a:gd name="T90" fmla="*/ 144157 w 359"/>
              <a:gd name="T91" fmla="*/ 183852 h 394"/>
              <a:gd name="T92" fmla="*/ 141062 w 359"/>
              <a:gd name="T93" fmla="*/ 187518 h 394"/>
              <a:gd name="T94" fmla="*/ 136198 w 359"/>
              <a:gd name="T95" fmla="*/ 186471 h 394"/>
              <a:gd name="T96" fmla="*/ 131776 w 359"/>
              <a:gd name="T97" fmla="*/ 183328 h 394"/>
              <a:gd name="T98" fmla="*/ 126912 w 359"/>
              <a:gd name="T99" fmla="*/ 178090 h 394"/>
              <a:gd name="T100" fmla="*/ 122490 w 359"/>
              <a:gd name="T101" fmla="*/ 175471 h 394"/>
              <a:gd name="T102" fmla="*/ 117625 w 359"/>
              <a:gd name="T103" fmla="*/ 174424 h 394"/>
              <a:gd name="T104" fmla="*/ 108781 w 359"/>
              <a:gd name="T105" fmla="*/ 174424 h 394"/>
              <a:gd name="T106" fmla="*/ 97726 w 359"/>
              <a:gd name="T107" fmla="*/ 175995 h 394"/>
              <a:gd name="T108" fmla="*/ 80038 w 359"/>
              <a:gd name="T109" fmla="*/ 179661 h 394"/>
              <a:gd name="T110" fmla="*/ 57928 w 359"/>
              <a:gd name="T111" fmla="*/ 188042 h 394"/>
              <a:gd name="T112" fmla="*/ 38029 w 359"/>
              <a:gd name="T113" fmla="*/ 196423 h 394"/>
              <a:gd name="T114" fmla="*/ 23437 w 359"/>
              <a:gd name="T115" fmla="*/ 206375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3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175403 w 449"/>
              <a:gd name="T1" fmla="*/ 54500 h 523"/>
              <a:gd name="T2" fmla="*/ 173264 w 449"/>
              <a:gd name="T3" fmla="*/ 50867 h 523"/>
              <a:gd name="T4" fmla="*/ 174548 w 449"/>
              <a:gd name="T5" fmla="*/ 47753 h 523"/>
              <a:gd name="T6" fmla="*/ 180537 w 449"/>
              <a:gd name="T7" fmla="*/ 39967 h 523"/>
              <a:gd name="T8" fmla="*/ 188665 w 449"/>
              <a:gd name="T9" fmla="*/ 31143 h 523"/>
              <a:gd name="T10" fmla="*/ 191232 w 449"/>
              <a:gd name="T11" fmla="*/ 25952 h 523"/>
              <a:gd name="T12" fmla="*/ 192088 w 449"/>
              <a:gd name="T13" fmla="*/ 19205 h 523"/>
              <a:gd name="T14" fmla="*/ 184815 w 449"/>
              <a:gd name="T15" fmla="*/ 17648 h 523"/>
              <a:gd name="T16" fmla="*/ 180537 w 449"/>
              <a:gd name="T17" fmla="*/ 14014 h 523"/>
              <a:gd name="T18" fmla="*/ 175831 w 449"/>
              <a:gd name="T19" fmla="*/ 10900 h 523"/>
              <a:gd name="T20" fmla="*/ 166847 w 449"/>
              <a:gd name="T21" fmla="*/ 9343 h 523"/>
              <a:gd name="T22" fmla="*/ 161285 w 449"/>
              <a:gd name="T23" fmla="*/ 10381 h 523"/>
              <a:gd name="T24" fmla="*/ 157435 w 449"/>
              <a:gd name="T25" fmla="*/ 12457 h 523"/>
              <a:gd name="T26" fmla="*/ 151874 w 449"/>
              <a:gd name="T27" fmla="*/ 19205 h 523"/>
              <a:gd name="T28" fmla="*/ 145456 w 449"/>
              <a:gd name="T29" fmla="*/ 25952 h 523"/>
              <a:gd name="T30" fmla="*/ 139467 w 449"/>
              <a:gd name="T31" fmla="*/ 28029 h 523"/>
              <a:gd name="T32" fmla="*/ 132622 w 449"/>
              <a:gd name="T33" fmla="*/ 28548 h 523"/>
              <a:gd name="T34" fmla="*/ 122782 w 449"/>
              <a:gd name="T35" fmla="*/ 28029 h 523"/>
              <a:gd name="T36" fmla="*/ 114226 w 449"/>
              <a:gd name="T37" fmla="*/ 25952 h 523"/>
              <a:gd name="T38" fmla="*/ 100536 w 449"/>
              <a:gd name="T39" fmla="*/ 18686 h 523"/>
              <a:gd name="T40" fmla="*/ 88129 w 449"/>
              <a:gd name="T41" fmla="*/ 9862 h 523"/>
              <a:gd name="T42" fmla="*/ 80857 w 449"/>
              <a:gd name="T43" fmla="*/ 6229 h 523"/>
              <a:gd name="T44" fmla="*/ 72728 w 449"/>
              <a:gd name="T45" fmla="*/ 3114 h 523"/>
              <a:gd name="T46" fmla="*/ 57327 w 449"/>
              <a:gd name="T47" fmla="*/ 4152 h 523"/>
              <a:gd name="T48" fmla="*/ 50910 w 449"/>
              <a:gd name="T49" fmla="*/ 3114 h 523"/>
              <a:gd name="T50" fmla="*/ 44065 w 449"/>
              <a:gd name="T51" fmla="*/ 0 h 523"/>
              <a:gd name="T52" fmla="*/ 22246 w 449"/>
              <a:gd name="T53" fmla="*/ 0 h 523"/>
              <a:gd name="T54" fmla="*/ 2139 w 449"/>
              <a:gd name="T55" fmla="*/ 0 h 523"/>
              <a:gd name="T56" fmla="*/ 2139 w 449"/>
              <a:gd name="T57" fmla="*/ 9343 h 523"/>
              <a:gd name="T58" fmla="*/ 2139 w 449"/>
              <a:gd name="T59" fmla="*/ 19205 h 523"/>
              <a:gd name="T60" fmla="*/ 6417 w 449"/>
              <a:gd name="T61" fmla="*/ 31143 h 523"/>
              <a:gd name="T62" fmla="*/ 9840 w 449"/>
              <a:gd name="T63" fmla="*/ 47234 h 523"/>
              <a:gd name="T64" fmla="*/ 13262 w 449"/>
              <a:gd name="T65" fmla="*/ 66438 h 523"/>
              <a:gd name="T66" fmla="*/ 16257 w 449"/>
              <a:gd name="T67" fmla="*/ 89277 h 523"/>
              <a:gd name="T68" fmla="*/ 15829 w 449"/>
              <a:gd name="T69" fmla="*/ 106924 h 523"/>
              <a:gd name="T70" fmla="*/ 12407 w 449"/>
              <a:gd name="T71" fmla="*/ 119381 h 523"/>
              <a:gd name="T72" fmla="*/ 2995 w 449"/>
              <a:gd name="T73" fmla="*/ 139624 h 523"/>
              <a:gd name="T74" fmla="*/ 4278 w 449"/>
              <a:gd name="T75" fmla="*/ 166615 h 523"/>
              <a:gd name="T76" fmla="*/ 11979 w 449"/>
              <a:gd name="T77" fmla="*/ 175958 h 523"/>
              <a:gd name="T78" fmla="*/ 35936 w 449"/>
              <a:gd name="T79" fmla="*/ 190491 h 523"/>
              <a:gd name="T80" fmla="*/ 58183 w 449"/>
              <a:gd name="T81" fmla="*/ 205544 h 523"/>
              <a:gd name="T82" fmla="*/ 72728 w 449"/>
              <a:gd name="T83" fmla="*/ 218001 h 523"/>
              <a:gd name="T84" fmla="*/ 80857 w 449"/>
              <a:gd name="T85" fmla="*/ 226306 h 523"/>
              <a:gd name="T86" fmla="*/ 84707 w 449"/>
              <a:gd name="T87" fmla="*/ 234091 h 523"/>
              <a:gd name="T88" fmla="*/ 85990 w 449"/>
              <a:gd name="T89" fmla="*/ 240839 h 523"/>
              <a:gd name="T90" fmla="*/ 89413 w 449"/>
              <a:gd name="T91" fmla="*/ 248625 h 523"/>
              <a:gd name="T92" fmla="*/ 94119 w 449"/>
              <a:gd name="T93" fmla="*/ 255372 h 523"/>
              <a:gd name="T94" fmla="*/ 99680 w 449"/>
              <a:gd name="T95" fmla="*/ 261082 h 523"/>
              <a:gd name="T96" fmla="*/ 105670 w 449"/>
              <a:gd name="T97" fmla="*/ 265753 h 523"/>
              <a:gd name="T98" fmla="*/ 112943 w 449"/>
              <a:gd name="T99" fmla="*/ 269387 h 523"/>
              <a:gd name="T100" fmla="*/ 120215 w 449"/>
              <a:gd name="T101" fmla="*/ 271463 h 523"/>
              <a:gd name="T102" fmla="*/ 130055 w 449"/>
              <a:gd name="T103" fmla="*/ 260563 h 523"/>
              <a:gd name="T104" fmla="*/ 143317 w 449"/>
              <a:gd name="T105" fmla="*/ 239801 h 523"/>
              <a:gd name="T106" fmla="*/ 156152 w 449"/>
              <a:gd name="T107" fmla="*/ 221634 h 523"/>
              <a:gd name="T108" fmla="*/ 168558 w 449"/>
              <a:gd name="T109" fmla="*/ 202429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4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5395 w 226"/>
              <a:gd name="T1" fmla="*/ 120650 h 246"/>
              <a:gd name="T2" fmla="*/ 16184 w 226"/>
              <a:gd name="T3" fmla="*/ 127000 h 246"/>
              <a:gd name="T4" fmla="*/ 23827 w 226"/>
              <a:gd name="T5" fmla="*/ 129646 h 246"/>
              <a:gd name="T6" fmla="*/ 30570 w 226"/>
              <a:gd name="T7" fmla="*/ 129646 h 246"/>
              <a:gd name="T8" fmla="*/ 38212 w 226"/>
              <a:gd name="T9" fmla="*/ 127529 h 246"/>
              <a:gd name="T10" fmla="*/ 49451 w 226"/>
              <a:gd name="T11" fmla="*/ 120650 h 246"/>
              <a:gd name="T12" fmla="*/ 63388 w 226"/>
              <a:gd name="T13" fmla="*/ 108479 h 246"/>
              <a:gd name="T14" fmla="*/ 72379 w 226"/>
              <a:gd name="T15" fmla="*/ 97367 h 246"/>
              <a:gd name="T16" fmla="*/ 71480 w 226"/>
              <a:gd name="T17" fmla="*/ 91546 h 246"/>
              <a:gd name="T18" fmla="*/ 66984 w 226"/>
              <a:gd name="T19" fmla="*/ 84667 h 246"/>
              <a:gd name="T20" fmla="*/ 64287 w 226"/>
              <a:gd name="T21" fmla="*/ 76729 h 246"/>
              <a:gd name="T22" fmla="*/ 63388 w 226"/>
              <a:gd name="T23" fmla="*/ 68792 h 246"/>
              <a:gd name="T24" fmla="*/ 63388 w 226"/>
              <a:gd name="T25" fmla="*/ 61383 h 246"/>
              <a:gd name="T26" fmla="*/ 65635 w 226"/>
              <a:gd name="T27" fmla="*/ 55562 h 246"/>
              <a:gd name="T28" fmla="*/ 70131 w 226"/>
              <a:gd name="T29" fmla="*/ 49742 h 246"/>
              <a:gd name="T30" fmla="*/ 75526 w 226"/>
              <a:gd name="T31" fmla="*/ 45508 h 246"/>
              <a:gd name="T32" fmla="*/ 91710 w 226"/>
              <a:gd name="T33" fmla="*/ 37571 h 246"/>
              <a:gd name="T34" fmla="*/ 101150 w 226"/>
              <a:gd name="T35" fmla="*/ 25929 h 246"/>
              <a:gd name="T36" fmla="*/ 99352 w 226"/>
              <a:gd name="T37" fmla="*/ 15875 h 246"/>
              <a:gd name="T38" fmla="*/ 96205 w 226"/>
              <a:gd name="T39" fmla="*/ 8996 h 246"/>
              <a:gd name="T40" fmla="*/ 95306 w 226"/>
              <a:gd name="T41" fmla="*/ 3175 h 246"/>
              <a:gd name="T42" fmla="*/ 90811 w 226"/>
              <a:gd name="T43" fmla="*/ 529 h 246"/>
              <a:gd name="T44" fmla="*/ 81370 w 226"/>
              <a:gd name="T45" fmla="*/ 3704 h 246"/>
              <a:gd name="T46" fmla="*/ 69232 w 226"/>
              <a:gd name="T47" fmla="*/ 10583 h 246"/>
              <a:gd name="T48" fmla="*/ 54396 w 226"/>
              <a:gd name="T49" fmla="*/ 20108 h 246"/>
              <a:gd name="T50" fmla="*/ 44956 w 226"/>
              <a:gd name="T51" fmla="*/ 26987 h 246"/>
              <a:gd name="T52" fmla="*/ 39112 w 226"/>
              <a:gd name="T53" fmla="*/ 29104 h 246"/>
              <a:gd name="T54" fmla="*/ 33717 w 226"/>
              <a:gd name="T55" fmla="*/ 28575 h 246"/>
              <a:gd name="T56" fmla="*/ 26524 w 226"/>
              <a:gd name="T57" fmla="*/ 24871 h 246"/>
              <a:gd name="T58" fmla="*/ 16184 w 226"/>
              <a:gd name="T59" fmla="*/ 16404 h 246"/>
              <a:gd name="T60" fmla="*/ 10789 w 226"/>
              <a:gd name="T61" fmla="*/ 20638 h 246"/>
              <a:gd name="T62" fmla="*/ 8092 w 226"/>
              <a:gd name="T63" fmla="*/ 50271 h 246"/>
              <a:gd name="T64" fmla="*/ 4496 w 226"/>
              <a:gd name="T65" fmla="*/ 86254 h 246"/>
              <a:gd name="T66" fmla="*/ 1349 w 226"/>
              <a:gd name="T67" fmla="*/ 112183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5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10001 w 60"/>
              <a:gd name="T1" fmla="*/ 0 h 81"/>
              <a:gd name="T2" fmla="*/ 10742 w 60"/>
              <a:gd name="T3" fmla="*/ 1372 h 81"/>
              <a:gd name="T4" fmla="*/ 11853 w 60"/>
              <a:gd name="T5" fmla="*/ 2058 h 81"/>
              <a:gd name="T6" fmla="*/ 13335 w 60"/>
              <a:gd name="T7" fmla="*/ 2058 h 81"/>
              <a:gd name="T8" fmla="*/ 14817 w 60"/>
              <a:gd name="T9" fmla="*/ 1372 h 81"/>
              <a:gd name="T10" fmla="*/ 17410 w 60"/>
              <a:gd name="T11" fmla="*/ 686 h 81"/>
              <a:gd name="T12" fmla="*/ 19632 w 60"/>
              <a:gd name="T13" fmla="*/ 0 h 81"/>
              <a:gd name="T14" fmla="*/ 19632 w 60"/>
              <a:gd name="T15" fmla="*/ 17835 h 81"/>
              <a:gd name="T16" fmla="*/ 20003 w 60"/>
              <a:gd name="T17" fmla="*/ 32240 h 81"/>
              <a:gd name="T18" fmla="*/ 20003 w 60"/>
              <a:gd name="T19" fmla="*/ 39099 h 81"/>
              <a:gd name="T20" fmla="*/ 20743 w 60"/>
              <a:gd name="T21" fmla="*/ 44587 h 81"/>
              <a:gd name="T22" fmla="*/ 21484 w 60"/>
              <a:gd name="T23" fmla="*/ 50074 h 81"/>
              <a:gd name="T24" fmla="*/ 22225 w 60"/>
              <a:gd name="T25" fmla="*/ 55562 h 81"/>
              <a:gd name="T26" fmla="*/ 7408 w 60"/>
              <a:gd name="T27" fmla="*/ 55562 h 81"/>
              <a:gd name="T28" fmla="*/ 5186 w 60"/>
              <a:gd name="T29" fmla="*/ 54876 h 81"/>
              <a:gd name="T30" fmla="*/ 2593 w 60"/>
              <a:gd name="T31" fmla="*/ 52818 h 81"/>
              <a:gd name="T32" fmla="*/ 1852 w 60"/>
              <a:gd name="T33" fmla="*/ 50760 h 81"/>
              <a:gd name="T34" fmla="*/ 741 w 60"/>
              <a:gd name="T35" fmla="*/ 49388 h 81"/>
              <a:gd name="T36" fmla="*/ 370 w 60"/>
              <a:gd name="T37" fmla="*/ 48017 h 81"/>
              <a:gd name="T38" fmla="*/ 0 w 60"/>
              <a:gd name="T39" fmla="*/ 46645 h 81"/>
              <a:gd name="T40" fmla="*/ 2593 w 60"/>
              <a:gd name="T41" fmla="*/ 8231 h 81"/>
              <a:gd name="T42" fmla="*/ 7408 w 60"/>
              <a:gd name="T43" fmla="*/ 4116 h 81"/>
              <a:gd name="T44" fmla="*/ 12594 w 60"/>
              <a:gd name="T45" fmla="*/ 0 h 81"/>
              <a:gd name="T46" fmla="*/ 10001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6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109409 w 370"/>
              <a:gd name="T1" fmla="*/ 60473 h 129"/>
              <a:gd name="T2" fmla="*/ 112910 w 370"/>
              <a:gd name="T3" fmla="*/ 61506 h 129"/>
              <a:gd name="T4" fmla="*/ 121225 w 370"/>
              <a:gd name="T5" fmla="*/ 63574 h 129"/>
              <a:gd name="T6" fmla="*/ 129102 w 370"/>
              <a:gd name="T7" fmla="*/ 65641 h 129"/>
              <a:gd name="T8" fmla="*/ 132603 w 370"/>
              <a:gd name="T9" fmla="*/ 66675 h 129"/>
              <a:gd name="T10" fmla="*/ 161925 w 370"/>
              <a:gd name="T11" fmla="*/ 50135 h 129"/>
              <a:gd name="T12" fmla="*/ 156673 w 370"/>
              <a:gd name="T13" fmla="*/ 38765 h 129"/>
              <a:gd name="T14" fmla="*/ 150984 w 370"/>
              <a:gd name="T15" fmla="*/ 24809 h 129"/>
              <a:gd name="T16" fmla="*/ 146608 w 370"/>
              <a:gd name="T17" fmla="*/ 13955 h 129"/>
              <a:gd name="T18" fmla="*/ 144420 w 370"/>
              <a:gd name="T19" fmla="*/ 9303 h 129"/>
              <a:gd name="T20" fmla="*/ 131291 w 370"/>
              <a:gd name="T21" fmla="*/ 7753 h 129"/>
              <a:gd name="T22" fmla="*/ 112472 w 370"/>
              <a:gd name="T23" fmla="*/ 4652 h 129"/>
              <a:gd name="T24" fmla="*/ 93654 w 370"/>
              <a:gd name="T25" fmla="*/ 1034 h 129"/>
              <a:gd name="T26" fmla="*/ 80087 w 370"/>
              <a:gd name="T27" fmla="*/ 0 h 129"/>
              <a:gd name="T28" fmla="*/ 78337 w 370"/>
              <a:gd name="T29" fmla="*/ 0 h 129"/>
              <a:gd name="T30" fmla="*/ 77024 w 370"/>
              <a:gd name="T31" fmla="*/ 517 h 129"/>
              <a:gd name="T32" fmla="*/ 75273 w 370"/>
              <a:gd name="T33" fmla="*/ 1034 h 129"/>
              <a:gd name="T34" fmla="*/ 74398 w 370"/>
              <a:gd name="T35" fmla="*/ 1551 h 129"/>
              <a:gd name="T36" fmla="*/ 70897 w 370"/>
              <a:gd name="T37" fmla="*/ 3618 h 129"/>
              <a:gd name="T38" fmla="*/ 65645 w 370"/>
              <a:gd name="T39" fmla="*/ 6202 h 129"/>
              <a:gd name="T40" fmla="*/ 64332 w 370"/>
              <a:gd name="T41" fmla="*/ 10854 h 129"/>
              <a:gd name="T42" fmla="*/ 61269 w 370"/>
              <a:gd name="T43" fmla="*/ 18090 h 129"/>
              <a:gd name="T44" fmla="*/ 58643 w 370"/>
              <a:gd name="T45" fmla="*/ 24809 h 129"/>
              <a:gd name="T46" fmla="*/ 57330 w 370"/>
              <a:gd name="T47" fmla="*/ 28427 h 129"/>
              <a:gd name="T48" fmla="*/ 53391 w 370"/>
              <a:gd name="T49" fmla="*/ 27910 h 129"/>
              <a:gd name="T50" fmla="*/ 48578 w 370"/>
              <a:gd name="T51" fmla="*/ 25326 h 129"/>
              <a:gd name="T52" fmla="*/ 42888 w 370"/>
              <a:gd name="T53" fmla="*/ 22742 h 129"/>
              <a:gd name="T54" fmla="*/ 36761 w 370"/>
              <a:gd name="T55" fmla="*/ 19641 h 129"/>
              <a:gd name="T56" fmla="*/ 26258 w 370"/>
              <a:gd name="T57" fmla="*/ 13438 h 129"/>
              <a:gd name="T58" fmla="*/ 19256 w 370"/>
              <a:gd name="T59" fmla="*/ 9303 h 129"/>
              <a:gd name="T60" fmla="*/ 14004 w 370"/>
              <a:gd name="T61" fmla="*/ 12922 h 129"/>
              <a:gd name="T62" fmla="*/ 9190 w 370"/>
              <a:gd name="T63" fmla="*/ 17056 h 129"/>
              <a:gd name="T64" fmla="*/ 7002 w 370"/>
              <a:gd name="T65" fmla="*/ 19124 h 129"/>
              <a:gd name="T66" fmla="*/ 5252 w 370"/>
              <a:gd name="T67" fmla="*/ 21191 h 129"/>
              <a:gd name="T68" fmla="*/ 3939 w 370"/>
              <a:gd name="T69" fmla="*/ 23776 h 129"/>
              <a:gd name="T70" fmla="*/ 2188 w 370"/>
              <a:gd name="T71" fmla="*/ 26877 h 129"/>
              <a:gd name="T72" fmla="*/ 1313 w 370"/>
              <a:gd name="T73" fmla="*/ 29461 h 129"/>
              <a:gd name="T74" fmla="*/ 438 w 370"/>
              <a:gd name="T75" fmla="*/ 32562 h 129"/>
              <a:gd name="T76" fmla="*/ 0 w 370"/>
              <a:gd name="T77" fmla="*/ 35663 h 129"/>
              <a:gd name="T78" fmla="*/ 0 w 370"/>
              <a:gd name="T79" fmla="*/ 38765 h 129"/>
              <a:gd name="T80" fmla="*/ 438 w 370"/>
              <a:gd name="T81" fmla="*/ 42383 h 129"/>
              <a:gd name="T82" fmla="*/ 1313 w 370"/>
              <a:gd name="T83" fmla="*/ 45484 h 129"/>
              <a:gd name="T84" fmla="*/ 2626 w 370"/>
              <a:gd name="T85" fmla="*/ 49619 h 129"/>
              <a:gd name="T86" fmla="*/ 4814 w 370"/>
              <a:gd name="T87" fmla="*/ 53237 h 129"/>
              <a:gd name="T88" fmla="*/ 8753 w 370"/>
              <a:gd name="T89" fmla="*/ 52203 h 129"/>
              <a:gd name="T90" fmla="*/ 14442 w 370"/>
              <a:gd name="T91" fmla="*/ 51169 h 129"/>
              <a:gd name="T92" fmla="*/ 21882 w 370"/>
              <a:gd name="T93" fmla="*/ 50135 h 129"/>
              <a:gd name="T94" fmla="*/ 30197 w 370"/>
              <a:gd name="T95" fmla="*/ 49102 h 129"/>
              <a:gd name="T96" fmla="*/ 44639 w 370"/>
              <a:gd name="T97" fmla="*/ 47551 h 129"/>
              <a:gd name="T98" fmla="*/ 51203 w 370"/>
              <a:gd name="T99" fmla="*/ 47034 h 129"/>
              <a:gd name="T100" fmla="*/ 59956 w 370"/>
              <a:gd name="T101" fmla="*/ 47551 h 129"/>
              <a:gd name="T102" fmla="*/ 66521 w 370"/>
              <a:gd name="T103" fmla="*/ 48585 h 129"/>
              <a:gd name="T104" fmla="*/ 72647 w 370"/>
              <a:gd name="T105" fmla="*/ 50135 h 129"/>
              <a:gd name="T106" fmla="*/ 77461 w 370"/>
              <a:gd name="T107" fmla="*/ 51686 h 129"/>
              <a:gd name="T108" fmla="*/ 82713 w 370"/>
              <a:gd name="T109" fmla="*/ 53753 h 129"/>
              <a:gd name="T110" fmla="*/ 87965 w 370"/>
              <a:gd name="T111" fmla="*/ 55821 h 129"/>
              <a:gd name="T112" fmla="*/ 94967 w 370"/>
              <a:gd name="T113" fmla="*/ 56855 h 129"/>
              <a:gd name="T114" fmla="*/ 103720 w 370"/>
              <a:gd name="T115" fmla="*/ 57372 h 129"/>
              <a:gd name="T116" fmla="*/ 103720 w 370"/>
              <a:gd name="T117" fmla="*/ 60473 h 129"/>
              <a:gd name="T118" fmla="*/ 109409 w 370"/>
              <a:gd name="T119" fmla="*/ 60473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7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10180 w 80"/>
              <a:gd name="T1" fmla="*/ 608 h 94"/>
              <a:gd name="T2" fmla="*/ 12819 w 80"/>
              <a:gd name="T3" fmla="*/ 0 h 94"/>
              <a:gd name="T4" fmla="*/ 15458 w 80"/>
              <a:gd name="T5" fmla="*/ 0 h 94"/>
              <a:gd name="T6" fmla="*/ 17720 w 80"/>
              <a:gd name="T7" fmla="*/ 1216 h 94"/>
              <a:gd name="T8" fmla="*/ 20359 w 80"/>
              <a:gd name="T9" fmla="*/ 2432 h 94"/>
              <a:gd name="T10" fmla="*/ 22622 w 80"/>
              <a:gd name="T11" fmla="*/ 3648 h 94"/>
              <a:gd name="T12" fmla="*/ 24884 w 80"/>
              <a:gd name="T13" fmla="*/ 4864 h 94"/>
              <a:gd name="T14" fmla="*/ 27523 w 80"/>
              <a:gd name="T15" fmla="*/ 4864 h 94"/>
              <a:gd name="T16" fmla="*/ 30162 w 80"/>
              <a:gd name="T17" fmla="*/ 4256 h 94"/>
              <a:gd name="T18" fmla="*/ 30162 w 80"/>
              <a:gd name="T19" fmla="*/ 23103 h 94"/>
              <a:gd name="T20" fmla="*/ 28277 w 80"/>
              <a:gd name="T21" fmla="*/ 26751 h 94"/>
              <a:gd name="T22" fmla="*/ 26015 w 80"/>
              <a:gd name="T23" fmla="*/ 31007 h 94"/>
              <a:gd name="T24" fmla="*/ 24130 w 80"/>
              <a:gd name="T25" fmla="*/ 35871 h 94"/>
              <a:gd name="T26" fmla="*/ 21867 w 80"/>
              <a:gd name="T27" fmla="*/ 41343 h 94"/>
              <a:gd name="T28" fmla="*/ 19228 w 80"/>
              <a:gd name="T29" fmla="*/ 51070 h 94"/>
              <a:gd name="T30" fmla="*/ 17720 w 80"/>
              <a:gd name="T31" fmla="*/ 57150 h 94"/>
              <a:gd name="T32" fmla="*/ 16212 w 80"/>
              <a:gd name="T33" fmla="*/ 56542 h 94"/>
              <a:gd name="T34" fmla="*/ 15081 w 80"/>
              <a:gd name="T35" fmla="*/ 55934 h 94"/>
              <a:gd name="T36" fmla="*/ 13950 w 80"/>
              <a:gd name="T37" fmla="*/ 55326 h 94"/>
              <a:gd name="T38" fmla="*/ 12819 w 80"/>
              <a:gd name="T39" fmla="*/ 54110 h 94"/>
              <a:gd name="T40" fmla="*/ 10934 w 80"/>
              <a:gd name="T41" fmla="*/ 51070 h 94"/>
              <a:gd name="T42" fmla="*/ 8672 w 80"/>
              <a:gd name="T43" fmla="*/ 47422 h 94"/>
              <a:gd name="T44" fmla="*/ 7163 w 80"/>
              <a:gd name="T45" fmla="*/ 43774 h 94"/>
              <a:gd name="T46" fmla="*/ 4901 w 80"/>
              <a:gd name="T47" fmla="*/ 39519 h 94"/>
              <a:gd name="T48" fmla="*/ 2639 w 80"/>
              <a:gd name="T49" fmla="*/ 36479 h 94"/>
              <a:gd name="T50" fmla="*/ 0 w 80"/>
              <a:gd name="T51" fmla="*/ 34047 h 94"/>
              <a:gd name="T52" fmla="*/ 3016 w 80"/>
              <a:gd name="T53" fmla="*/ 24927 h 94"/>
              <a:gd name="T54" fmla="*/ 4901 w 80"/>
              <a:gd name="T55" fmla="*/ 17631 h 94"/>
              <a:gd name="T56" fmla="*/ 7163 w 80"/>
              <a:gd name="T57" fmla="*/ 10336 h 94"/>
              <a:gd name="T58" fmla="*/ 10180 w 80"/>
              <a:gd name="T59" fmla="*/ 608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8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1376 w 135"/>
              <a:gd name="T1" fmla="*/ 32074 h 98"/>
              <a:gd name="T2" fmla="*/ 5045 w 135"/>
              <a:gd name="T3" fmla="*/ 31491 h 98"/>
              <a:gd name="T4" fmla="*/ 8255 w 135"/>
              <a:gd name="T5" fmla="*/ 30908 h 98"/>
              <a:gd name="T6" fmla="*/ 11007 w 135"/>
              <a:gd name="T7" fmla="*/ 29158 h 98"/>
              <a:gd name="T8" fmla="*/ 14217 w 135"/>
              <a:gd name="T9" fmla="*/ 27409 h 98"/>
              <a:gd name="T10" fmla="*/ 19262 w 135"/>
              <a:gd name="T11" fmla="*/ 22160 h 98"/>
              <a:gd name="T12" fmla="*/ 23848 w 135"/>
              <a:gd name="T13" fmla="*/ 16329 h 98"/>
              <a:gd name="T14" fmla="*/ 27975 w 135"/>
              <a:gd name="T15" fmla="*/ 10497 h 98"/>
              <a:gd name="T16" fmla="*/ 32561 w 135"/>
              <a:gd name="T17" fmla="*/ 4665 h 98"/>
              <a:gd name="T18" fmla="*/ 34854 w 135"/>
              <a:gd name="T19" fmla="*/ 2916 h 98"/>
              <a:gd name="T20" fmla="*/ 37606 w 135"/>
              <a:gd name="T21" fmla="*/ 1166 h 98"/>
              <a:gd name="T22" fmla="*/ 40357 w 135"/>
              <a:gd name="T23" fmla="*/ 0 h 98"/>
              <a:gd name="T24" fmla="*/ 44026 w 135"/>
              <a:gd name="T25" fmla="*/ 0 h 98"/>
              <a:gd name="T26" fmla="*/ 46778 w 135"/>
              <a:gd name="T27" fmla="*/ 0 h 98"/>
              <a:gd name="T28" fmla="*/ 50447 w 135"/>
              <a:gd name="T29" fmla="*/ 1749 h 98"/>
              <a:gd name="T30" fmla="*/ 53657 w 135"/>
              <a:gd name="T31" fmla="*/ 3499 h 98"/>
              <a:gd name="T32" fmla="*/ 56409 w 135"/>
              <a:gd name="T33" fmla="*/ 6415 h 98"/>
              <a:gd name="T34" fmla="*/ 58702 w 135"/>
              <a:gd name="T35" fmla="*/ 9331 h 98"/>
              <a:gd name="T36" fmla="*/ 60536 w 135"/>
              <a:gd name="T37" fmla="*/ 13996 h 98"/>
              <a:gd name="T38" fmla="*/ 61453 w 135"/>
              <a:gd name="T39" fmla="*/ 17495 h 98"/>
              <a:gd name="T40" fmla="*/ 61912 w 135"/>
              <a:gd name="T41" fmla="*/ 21577 h 98"/>
              <a:gd name="T42" fmla="*/ 61453 w 135"/>
              <a:gd name="T43" fmla="*/ 23327 h 98"/>
              <a:gd name="T44" fmla="*/ 60536 w 135"/>
              <a:gd name="T45" fmla="*/ 25076 h 98"/>
              <a:gd name="T46" fmla="*/ 59160 w 135"/>
              <a:gd name="T47" fmla="*/ 27409 h 98"/>
              <a:gd name="T48" fmla="*/ 56867 w 135"/>
              <a:gd name="T49" fmla="*/ 29741 h 98"/>
              <a:gd name="T50" fmla="*/ 51823 w 135"/>
              <a:gd name="T51" fmla="*/ 35573 h 98"/>
              <a:gd name="T52" fmla="*/ 45861 w 135"/>
              <a:gd name="T53" fmla="*/ 41988 h 98"/>
              <a:gd name="T54" fmla="*/ 39899 w 135"/>
              <a:gd name="T55" fmla="*/ 47819 h 98"/>
              <a:gd name="T56" fmla="*/ 33937 w 135"/>
              <a:gd name="T57" fmla="*/ 53068 h 98"/>
              <a:gd name="T58" fmla="*/ 28892 w 135"/>
              <a:gd name="T59" fmla="*/ 55984 h 98"/>
              <a:gd name="T60" fmla="*/ 25223 w 135"/>
              <a:gd name="T61" fmla="*/ 57150 h 98"/>
              <a:gd name="T62" fmla="*/ 23389 w 135"/>
              <a:gd name="T63" fmla="*/ 56567 h 98"/>
              <a:gd name="T64" fmla="*/ 19720 w 135"/>
              <a:gd name="T65" fmla="*/ 53651 h 98"/>
              <a:gd name="T66" fmla="*/ 14675 w 135"/>
              <a:gd name="T67" fmla="*/ 49569 h 98"/>
              <a:gd name="T68" fmla="*/ 9631 w 135"/>
              <a:gd name="T69" fmla="*/ 44904 h 98"/>
              <a:gd name="T70" fmla="*/ 5045 w 135"/>
              <a:gd name="T71" fmla="*/ 39655 h 98"/>
              <a:gd name="T72" fmla="*/ 2293 w 135"/>
              <a:gd name="T73" fmla="*/ 36156 h 98"/>
              <a:gd name="T74" fmla="*/ 459 w 135"/>
              <a:gd name="T75" fmla="*/ 34407 h 98"/>
              <a:gd name="T76" fmla="*/ 0 w 135"/>
              <a:gd name="T77" fmla="*/ 33240 h 98"/>
              <a:gd name="T78" fmla="*/ 0 w 135"/>
              <a:gd name="T79" fmla="*/ 32657 h 98"/>
              <a:gd name="T80" fmla="*/ 1376 w 135"/>
              <a:gd name="T81" fmla="*/ 32074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9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81084 w 312"/>
              <a:gd name="T1" fmla="*/ 84138 h 155"/>
              <a:gd name="T2" fmla="*/ 81929 w 312"/>
              <a:gd name="T3" fmla="*/ 81967 h 155"/>
              <a:gd name="T4" fmla="*/ 83196 w 312"/>
              <a:gd name="T5" fmla="*/ 80338 h 155"/>
              <a:gd name="T6" fmla="*/ 84463 w 312"/>
              <a:gd name="T7" fmla="*/ 78710 h 155"/>
              <a:gd name="T8" fmla="*/ 85730 w 312"/>
              <a:gd name="T9" fmla="*/ 77081 h 155"/>
              <a:gd name="T10" fmla="*/ 89108 w 312"/>
              <a:gd name="T11" fmla="*/ 74367 h 155"/>
              <a:gd name="T12" fmla="*/ 92909 w 312"/>
              <a:gd name="T13" fmla="*/ 71653 h 155"/>
              <a:gd name="T14" fmla="*/ 100511 w 312"/>
              <a:gd name="T15" fmla="*/ 66768 h 155"/>
              <a:gd name="T16" fmla="*/ 106845 w 312"/>
              <a:gd name="T17" fmla="*/ 63511 h 155"/>
              <a:gd name="T18" fmla="*/ 107690 w 312"/>
              <a:gd name="T19" fmla="*/ 59168 h 155"/>
              <a:gd name="T20" fmla="*/ 109802 w 312"/>
              <a:gd name="T21" fmla="*/ 52654 h 155"/>
              <a:gd name="T22" fmla="*/ 111491 w 312"/>
              <a:gd name="T23" fmla="*/ 49397 h 155"/>
              <a:gd name="T24" fmla="*/ 112758 w 312"/>
              <a:gd name="T25" fmla="*/ 46683 h 155"/>
              <a:gd name="T26" fmla="*/ 113602 w 312"/>
              <a:gd name="T27" fmla="*/ 44512 h 155"/>
              <a:gd name="T28" fmla="*/ 114869 w 312"/>
              <a:gd name="T29" fmla="*/ 43969 h 155"/>
              <a:gd name="T30" fmla="*/ 131762 w 312"/>
              <a:gd name="T31" fmla="*/ 23884 h 155"/>
              <a:gd name="T32" fmla="*/ 131762 w 312"/>
              <a:gd name="T33" fmla="*/ 21170 h 155"/>
              <a:gd name="T34" fmla="*/ 130917 w 312"/>
              <a:gd name="T35" fmla="*/ 18999 h 155"/>
              <a:gd name="T36" fmla="*/ 129228 w 312"/>
              <a:gd name="T37" fmla="*/ 17370 h 155"/>
              <a:gd name="T38" fmla="*/ 127539 w 312"/>
              <a:gd name="T39" fmla="*/ 16285 h 155"/>
              <a:gd name="T40" fmla="*/ 122893 w 312"/>
              <a:gd name="T41" fmla="*/ 15199 h 155"/>
              <a:gd name="T42" fmla="*/ 118248 w 312"/>
              <a:gd name="T43" fmla="*/ 14656 h 155"/>
              <a:gd name="T44" fmla="*/ 113180 w 312"/>
              <a:gd name="T45" fmla="*/ 14656 h 155"/>
              <a:gd name="T46" fmla="*/ 109379 w 312"/>
              <a:gd name="T47" fmla="*/ 14656 h 155"/>
              <a:gd name="T48" fmla="*/ 108112 w 312"/>
              <a:gd name="T49" fmla="*/ 14113 h 155"/>
              <a:gd name="T50" fmla="*/ 106845 w 312"/>
              <a:gd name="T51" fmla="*/ 13571 h 155"/>
              <a:gd name="T52" fmla="*/ 106423 w 312"/>
              <a:gd name="T53" fmla="*/ 12485 h 155"/>
              <a:gd name="T54" fmla="*/ 106845 w 312"/>
              <a:gd name="T55" fmla="*/ 10857 h 155"/>
              <a:gd name="T56" fmla="*/ 97977 w 312"/>
              <a:gd name="T57" fmla="*/ 10314 h 155"/>
              <a:gd name="T58" fmla="*/ 91220 w 312"/>
              <a:gd name="T59" fmla="*/ 9228 h 155"/>
              <a:gd name="T60" fmla="*/ 85307 w 312"/>
              <a:gd name="T61" fmla="*/ 7057 h 155"/>
              <a:gd name="T62" fmla="*/ 79817 w 312"/>
              <a:gd name="T63" fmla="*/ 4885 h 155"/>
              <a:gd name="T64" fmla="*/ 74750 w 312"/>
              <a:gd name="T65" fmla="*/ 3257 h 155"/>
              <a:gd name="T66" fmla="*/ 68837 w 312"/>
              <a:gd name="T67" fmla="*/ 1628 h 155"/>
              <a:gd name="T68" fmla="*/ 61658 w 312"/>
              <a:gd name="T69" fmla="*/ 543 h 155"/>
              <a:gd name="T70" fmla="*/ 53212 w 312"/>
              <a:gd name="T71" fmla="*/ 0 h 155"/>
              <a:gd name="T72" fmla="*/ 46455 w 312"/>
              <a:gd name="T73" fmla="*/ 543 h 155"/>
              <a:gd name="T74" fmla="*/ 31251 w 312"/>
              <a:gd name="T75" fmla="*/ 2171 h 155"/>
              <a:gd name="T76" fmla="*/ 22383 w 312"/>
              <a:gd name="T77" fmla="*/ 3257 h 155"/>
              <a:gd name="T78" fmla="*/ 14359 w 312"/>
              <a:gd name="T79" fmla="*/ 4343 h 155"/>
              <a:gd name="T80" fmla="*/ 7602 w 312"/>
              <a:gd name="T81" fmla="*/ 5428 h 155"/>
              <a:gd name="T82" fmla="*/ 2956 w 312"/>
              <a:gd name="T83" fmla="*/ 6514 h 155"/>
              <a:gd name="T84" fmla="*/ 3801 w 312"/>
              <a:gd name="T85" fmla="*/ 9228 h 155"/>
              <a:gd name="T86" fmla="*/ 4645 w 312"/>
              <a:gd name="T87" fmla="*/ 10314 h 155"/>
              <a:gd name="T88" fmla="*/ 5490 w 312"/>
              <a:gd name="T89" fmla="*/ 10314 h 155"/>
              <a:gd name="T90" fmla="*/ 6335 w 312"/>
              <a:gd name="T91" fmla="*/ 10857 h 155"/>
              <a:gd name="T92" fmla="*/ 7602 w 312"/>
              <a:gd name="T93" fmla="*/ 10857 h 155"/>
              <a:gd name="T94" fmla="*/ 8024 w 312"/>
              <a:gd name="T95" fmla="*/ 10857 h 155"/>
              <a:gd name="T96" fmla="*/ 8446 w 312"/>
              <a:gd name="T97" fmla="*/ 11942 h 155"/>
              <a:gd name="T98" fmla="*/ 8446 w 312"/>
              <a:gd name="T99" fmla="*/ 14113 h 155"/>
              <a:gd name="T100" fmla="*/ 8446 w 312"/>
              <a:gd name="T101" fmla="*/ 16285 h 155"/>
              <a:gd name="T102" fmla="*/ 8024 w 312"/>
              <a:gd name="T103" fmla="*/ 18999 h 155"/>
              <a:gd name="T104" fmla="*/ 7602 w 312"/>
              <a:gd name="T105" fmla="*/ 21170 h 155"/>
              <a:gd name="T106" fmla="*/ 6335 w 312"/>
              <a:gd name="T107" fmla="*/ 22799 h 155"/>
              <a:gd name="T108" fmla="*/ 5068 w 312"/>
              <a:gd name="T109" fmla="*/ 24427 h 155"/>
              <a:gd name="T110" fmla="*/ 3801 w 312"/>
              <a:gd name="T111" fmla="*/ 26056 h 155"/>
              <a:gd name="T112" fmla="*/ 1689 w 312"/>
              <a:gd name="T113" fmla="*/ 26598 h 155"/>
              <a:gd name="T114" fmla="*/ 0 w 312"/>
              <a:gd name="T115" fmla="*/ 27141 h 155"/>
              <a:gd name="T116" fmla="*/ 31251 w 312"/>
              <a:gd name="T117" fmla="*/ 36912 h 155"/>
              <a:gd name="T118" fmla="*/ 36741 w 312"/>
              <a:gd name="T119" fmla="*/ 60254 h 155"/>
              <a:gd name="T120" fmla="*/ 70104 w 312"/>
              <a:gd name="T121" fmla="*/ 66768 h 155"/>
              <a:gd name="T122" fmla="*/ 81084 w 312"/>
              <a:gd name="T123" fmla="*/ 84138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0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30163 h 50"/>
              <a:gd name="T2" fmla="*/ 828 w 46"/>
              <a:gd name="T3" fmla="*/ 21717 h 50"/>
              <a:gd name="T4" fmla="*/ 414 w 46"/>
              <a:gd name="T5" fmla="*/ 16891 h 50"/>
              <a:gd name="T6" fmla="*/ 828 w 46"/>
              <a:gd name="T7" fmla="*/ 15685 h 50"/>
              <a:gd name="T8" fmla="*/ 1242 w 46"/>
              <a:gd name="T9" fmla="*/ 15685 h 50"/>
              <a:gd name="T10" fmla="*/ 2485 w 46"/>
              <a:gd name="T11" fmla="*/ 14478 h 50"/>
              <a:gd name="T12" fmla="*/ 5384 w 46"/>
              <a:gd name="T13" fmla="*/ 14478 h 50"/>
              <a:gd name="T14" fmla="*/ 19050 w 46"/>
              <a:gd name="T15" fmla="*/ 0 h 50"/>
              <a:gd name="T16" fmla="*/ 19050 w 46"/>
              <a:gd name="T17" fmla="*/ 60325 h 50"/>
              <a:gd name="T18" fmla="*/ 16565 w 46"/>
              <a:gd name="T19" fmla="*/ 59119 h 50"/>
              <a:gd name="T20" fmla="*/ 13666 w 46"/>
              <a:gd name="T21" fmla="*/ 54293 h 50"/>
              <a:gd name="T22" fmla="*/ 10353 w 46"/>
              <a:gd name="T23" fmla="*/ 49467 h 50"/>
              <a:gd name="T24" fmla="*/ 7040 w 46"/>
              <a:gd name="T25" fmla="*/ 44641 h 50"/>
              <a:gd name="T26" fmla="*/ 2071 w 46"/>
              <a:gd name="T27" fmla="*/ 33782 h 50"/>
              <a:gd name="T28" fmla="*/ 0 w 46"/>
              <a:gd name="T29" fmla="*/ 30163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1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4208 w 166"/>
              <a:gd name="T1" fmla="*/ 149225 h 456"/>
              <a:gd name="T2" fmla="*/ 7995 w 166"/>
              <a:gd name="T3" fmla="*/ 153458 h 456"/>
              <a:gd name="T4" fmla="*/ 15569 w 166"/>
              <a:gd name="T5" fmla="*/ 158750 h 456"/>
              <a:gd name="T6" fmla="*/ 24405 w 166"/>
              <a:gd name="T7" fmla="*/ 161925 h 456"/>
              <a:gd name="T8" fmla="*/ 29455 w 166"/>
              <a:gd name="T9" fmla="*/ 165100 h 456"/>
              <a:gd name="T10" fmla="*/ 33663 w 166"/>
              <a:gd name="T11" fmla="*/ 169333 h 456"/>
              <a:gd name="T12" fmla="*/ 36187 w 166"/>
              <a:gd name="T13" fmla="*/ 175154 h 456"/>
              <a:gd name="T14" fmla="*/ 36187 w 166"/>
              <a:gd name="T15" fmla="*/ 183621 h 456"/>
              <a:gd name="T16" fmla="*/ 32821 w 166"/>
              <a:gd name="T17" fmla="*/ 192088 h 456"/>
              <a:gd name="T18" fmla="*/ 28613 w 166"/>
              <a:gd name="T19" fmla="*/ 198438 h 456"/>
              <a:gd name="T20" fmla="*/ 26089 w 166"/>
              <a:gd name="T21" fmla="*/ 205317 h 456"/>
              <a:gd name="T22" fmla="*/ 25247 w 166"/>
              <a:gd name="T23" fmla="*/ 211667 h 456"/>
              <a:gd name="T24" fmla="*/ 26930 w 166"/>
              <a:gd name="T25" fmla="*/ 217487 h 456"/>
              <a:gd name="T26" fmla="*/ 31980 w 166"/>
              <a:gd name="T27" fmla="*/ 224367 h 456"/>
              <a:gd name="T28" fmla="*/ 43761 w 166"/>
              <a:gd name="T29" fmla="*/ 235479 h 456"/>
              <a:gd name="T30" fmla="*/ 50494 w 166"/>
              <a:gd name="T31" fmla="*/ 234421 h 456"/>
              <a:gd name="T32" fmla="*/ 50494 w 166"/>
              <a:gd name="T33" fmla="*/ 223837 h 456"/>
              <a:gd name="T34" fmla="*/ 55123 w 166"/>
              <a:gd name="T35" fmla="*/ 218546 h 456"/>
              <a:gd name="T36" fmla="*/ 61014 w 166"/>
              <a:gd name="T37" fmla="*/ 215371 h 456"/>
              <a:gd name="T38" fmla="*/ 64380 w 166"/>
              <a:gd name="T39" fmla="*/ 212725 h 456"/>
              <a:gd name="T40" fmla="*/ 67325 w 166"/>
              <a:gd name="T41" fmla="*/ 207962 h 456"/>
              <a:gd name="T42" fmla="*/ 69850 w 166"/>
              <a:gd name="T43" fmla="*/ 198438 h 456"/>
              <a:gd name="T44" fmla="*/ 69429 w 166"/>
              <a:gd name="T45" fmla="*/ 185208 h 456"/>
              <a:gd name="T46" fmla="*/ 66484 w 166"/>
              <a:gd name="T47" fmla="*/ 173567 h 456"/>
              <a:gd name="T48" fmla="*/ 62276 w 166"/>
              <a:gd name="T49" fmla="*/ 162454 h 456"/>
              <a:gd name="T50" fmla="*/ 59330 w 166"/>
              <a:gd name="T51" fmla="*/ 150283 h 456"/>
              <a:gd name="T52" fmla="*/ 56806 w 166"/>
              <a:gd name="T53" fmla="*/ 142346 h 456"/>
              <a:gd name="T54" fmla="*/ 49652 w 166"/>
              <a:gd name="T55" fmla="*/ 132821 h 456"/>
              <a:gd name="T56" fmla="*/ 40816 w 166"/>
              <a:gd name="T57" fmla="*/ 118533 h 456"/>
              <a:gd name="T58" fmla="*/ 35767 w 166"/>
              <a:gd name="T59" fmla="*/ 109008 h 456"/>
              <a:gd name="T60" fmla="*/ 33663 w 166"/>
              <a:gd name="T61" fmla="*/ 103187 h 456"/>
              <a:gd name="T62" fmla="*/ 34083 w 166"/>
              <a:gd name="T63" fmla="*/ 93663 h 456"/>
              <a:gd name="T64" fmla="*/ 37029 w 166"/>
              <a:gd name="T65" fmla="*/ 77788 h 456"/>
              <a:gd name="T66" fmla="*/ 40395 w 166"/>
              <a:gd name="T67" fmla="*/ 68263 h 456"/>
              <a:gd name="T68" fmla="*/ 41237 w 166"/>
              <a:gd name="T69" fmla="*/ 59796 h 456"/>
              <a:gd name="T70" fmla="*/ 39974 w 166"/>
              <a:gd name="T71" fmla="*/ 43392 h 456"/>
              <a:gd name="T72" fmla="*/ 38712 w 166"/>
              <a:gd name="T73" fmla="*/ 23813 h 456"/>
              <a:gd name="T74" fmla="*/ 37450 w 166"/>
              <a:gd name="T75" fmla="*/ 9525 h 456"/>
              <a:gd name="T76" fmla="*/ 29876 w 166"/>
              <a:gd name="T77" fmla="*/ 4233 h 456"/>
              <a:gd name="T78" fmla="*/ 13886 w 166"/>
              <a:gd name="T79" fmla="*/ 2117 h 456"/>
              <a:gd name="T80" fmla="*/ 5049 w 166"/>
              <a:gd name="T81" fmla="*/ 5292 h 456"/>
              <a:gd name="T82" fmla="*/ 9257 w 166"/>
              <a:gd name="T83" fmla="*/ 13229 h 456"/>
              <a:gd name="T84" fmla="*/ 13886 w 166"/>
              <a:gd name="T85" fmla="*/ 15875 h 456"/>
              <a:gd name="T86" fmla="*/ 16831 w 166"/>
              <a:gd name="T87" fmla="*/ 23283 h 456"/>
              <a:gd name="T88" fmla="*/ 16831 w 166"/>
              <a:gd name="T89" fmla="*/ 33867 h 456"/>
              <a:gd name="T90" fmla="*/ 16831 w 166"/>
              <a:gd name="T91" fmla="*/ 41275 h 456"/>
              <a:gd name="T92" fmla="*/ 15148 w 166"/>
              <a:gd name="T93" fmla="*/ 44979 h 456"/>
              <a:gd name="T94" fmla="*/ 12203 w 166"/>
              <a:gd name="T95" fmla="*/ 50271 h 456"/>
              <a:gd name="T96" fmla="*/ 6312 w 166"/>
              <a:gd name="T97" fmla="*/ 57679 h 456"/>
              <a:gd name="T98" fmla="*/ 1262 w 166"/>
              <a:gd name="T99" fmla="*/ 64558 h 456"/>
              <a:gd name="T100" fmla="*/ 2945 w 166"/>
              <a:gd name="T101" fmla="*/ 146579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2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14287 w 27"/>
              <a:gd name="T1" fmla="*/ 0 h 19"/>
              <a:gd name="T2" fmla="*/ 14287 w 27"/>
              <a:gd name="T3" fmla="*/ 36095 h 19"/>
              <a:gd name="T4" fmla="*/ 14287 w 27"/>
              <a:gd name="T5" fmla="*/ 57150 h 19"/>
              <a:gd name="T6" fmla="*/ 4762 w 27"/>
              <a:gd name="T7" fmla="*/ 57150 h 19"/>
              <a:gd name="T8" fmla="*/ 0 w 27"/>
              <a:gd name="T9" fmla="*/ 57150 h 19"/>
              <a:gd name="T10" fmla="*/ 4762 w 27"/>
              <a:gd name="T11" fmla="*/ 36095 h 19"/>
              <a:gd name="T12" fmla="*/ 1428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3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122492 w 438"/>
              <a:gd name="T1" fmla="*/ 4285 h 406"/>
              <a:gd name="T2" fmla="*/ 138019 w 438"/>
              <a:gd name="T3" fmla="*/ 14463 h 406"/>
              <a:gd name="T4" fmla="*/ 156565 w 438"/>
              <a:gd name="T5" fmla="*/ 25177 h 406"/>
              <a:gd name="T6" fmla="*/ 170367 w 438"/>
              <a:gd name="T7" fmla="*/ 31070 h 406"/>
              <a:gd name="T8" fmla="*/ 179424 w 438"/>
              <a:gd name="T9" fmla="*/ 32677 h 406"/>
              <a:gd name="T10" fmla="*/ 183306 w 438"/>
              <a:gd name="T11" fmla="*/ 43390 h 406"/>
              <a:gd name="T12" fmla="*/ 185031 w 438"/>
              <a:gd name="T13" fmla="*/ 64282 h 406"/>
              <a:gd name="T14" fmla="*/ 187188 w 438"/>
              <a:gd name="T15" fmla="*/ 84102 h 406"/>
              <a:gd name="T16" fmla="*/ 188913 w 438"/>
              <a:gd name="T17" fmla="*/ 104458 h 406"/>
              <a:gd name="T18" fmla="*/ 188913 w 438"/>
              <a:gd name="T19" fmla="*/ 119457 h 406"/>
              <a:gd name="T20" fmla="*/ 187619 w 438"/>
              <a:gd name="T21" fmla="*/ 126957 h 406"/>
              <a:gd name="T22" fmla="*/ 183306 w 438"/>
              <a:gd name="T23" fmla="*/ 138742 h 406"/>
              <a:gd name="T24" fmla="*/ 175542 w 438"/>
              <a:gd name="T25" fmla="*/ 153741 h 406"/>
              <a:gd name="T26" fmla="*/ 168642 w 438"/>
              <a:gd name="T27" fmla="*/ 164454 h 406"/>
              <a:gd name="T28" fmla="*/ 164328 w 438"/>
              <a:gd name="T29" fmla="*/ 171418 h 406"/>
              <a:gd name="T30" fmla="*/ 161309 w 438"/>
              <a:gd name="T31" fmla="*/ 177847 h 406"/>
              <a:gd name="T32" fmla="*/ 160447 w 438"/>
              <a:gd name="T33" fmla="*/ 188560 h 406"/>
              <a:gd name="T34" fmla="*/ 154840 w 438"/>
              <a:gd name="T35" fmla="*/ 199274 h 406"/>
              <a:gd name="T36" fmla="*/ 138450 w 438"/>
              <a:gd name="T37" fmla="*/ 214809 h 406"/>
              <a:gd name="T38" fmla="*/ 88418 w 438"/>
              <a:gd name="T39" fmla="*/ 207845 h 406"/>
              <a:gd name="T40" fmla="*/ 78498 w 438"/>
              <a:gd name="T41" fmla="*/ 203024 h 406"/>
              <a:gd name="T42" fmla="*/ 71166 w 438"/>
              <a:gd name="T43" fmla="*/ 198202 h 406"/>
              <a:gd name="T44" fmla="*/ 64696 w 438"/>
              <a:gd name="T45" fmla="*/ 192310 h 406"/>
              <a:gd name="T46" fmla="*/ 59952 w 438"/>
              <a:gd name="T47" fmla="*/ 185346 h 406"/>
              <a:gd name="T48" fmla="*/ 53482 w 438"/>
              <a:gd name="T49" fmla="*/ 172490 h 406"/>
              <a:gd name="T50" fmla="*/ 46581 w 438"/>
              <a:gd name="T51" fmla="*/ 158562 h 406"/>
              <a:gd name="T52" fmla="*/ 40543 w 438"/>
              <a:gd name="T53" fmla="*/ 149455 h 406"/>
              <a:gd name="T54" fmla="*/ 31054 w 438"/>
              <a:gd name="T55" fmla="*/ 138742 h 406"/>
              <a:gd name="T56" fmla="*/ 18978 w 438"/>
              <a:gd name="T57" fmla="*/ 125350 h 406"/>
              <a:gd name="T58" fmla="*/ 10351 w 438"/>
              <a:gd name="T59" fmla="*/ 114100 h 406"/>
              <a:gd name="T60" fmla="*/ 5607 w 438"/>
              <a:gd name="T61" fmla="*/ 104458 h 406"/>
              <a:gd name="T62" fmla="*/ 1725 w 438"/>
              <a:gd name="T63" fmla="*/ 94280 h 406"/>
              <a:gd name="T64" fmla="*/ 0 w 438"/>
              <a:gd name="T65" fmla="*/ 82495 h 406"/>
              <a:gd name="T66" fmla="*/ 7764 w 438"/>
              <a:gd name="T67" fmla="*/ 75531 h 406"/>
              <a:gd name="T68" fmla="*/ 17252 w 438"/>
              <a:gd name="T69" fmla="*/ 75531 h 406"/>
              <a:gd name="T70" fmla="*/ 22859 w 438"/>
              <a:gd name="T71" fmla="*/ 75531 h 406"/>
              <a:gd name="T72" fmla="*/ 27172 w 438"/>
              <a:gd name="T73" fmla="*/ 73924 h 406"/>
              <a:gd name="T74" fmla="*/ 33211 w 438"/>
              <a:gd name="T75" fmla="*/ 70174 h 406"/>
              <a:gd name="T76" fmla="*/ 42700 w 438"/>
              <a:gd name="T77" fmla="*/ 57854 h 406"/>
              <a:gd name="T78" fmla="*/ 50463 w 438"/>
              <a:gd name="T79" fmla="*/ 46604 h 406"/>
              <a:gd name="T80" fmla="*/ 56070 w 438"/>
              <a:gd name="T81" fmla="*/ 42855 h 406"/>
              <a:gd name="T82" fmla="*/ 64696 w 438"/>
              <a:gd name="T83" fmla="*/ 38033 h 406"/>
              <a:gd name="T84" fmla="*/ 77204 w 438"/>
              <a:gd name="T85" fmla="*/ 32141 h 406"/>
              <a:gd name="T86" fmla="*/ 87556 w 438"/>
              <a:gd name="T87" fmla="*/ 26784 h 406"/>
              <a:gd name="T88" fmla="*/ 91006 w 438"/>
              <a:gd name="T89" fmla="*/ 23034 h 406"/>
              <a:gd name="T90" fmla="*/ 90575 w 438"/>
              <a:gd name="T91" fmla="*/ 20356 h 406"/>
              <a:gd name="T92" fmla="*/ 91006 w 438"/>
              <a:gd name="T93" fmla="*/ 16070 h 406"/>
              <a:gd name="T94" fmla="*/ 91869 w 438"/>
              <a:gd name="T95" fmla="*/ 9107 h 406"/>
              <a:gd name="T96" fmla="*/ 93594 w 438"/>
              <a:gd name="T97" fmla="*/ 6428 h 406"/>
              <a:gd name="T98" fmla="*/ 97044 w 438"/>
              <a:gd name="T99" fmla="*/ 6428 h 406"/>
              <a:gd name="T100" fmla="*/ 100064 w 438"/>
              <a:gd name="T101" fmla="*/ 4821 h 406"/>
              <a:gd name="T102" fmla="*/ 101789 w 438"/>
              <a:gd name="T103" fmla="*/ 2143 h 406"/>
              <a:gd name="T104" fmla="*/ 105239 w 438"/>
              <a:gd name="T105" fmla="*/ 1071 h 406"/>
              <a:gd name="T106" fmla="*/ 108258 w 438"/>
              <a:gd name="T107" fmla="*/ 1607 h 406"/>
              <a:gd name="T108" fmla="*/ 113865 w 438"/>
              <a:gd name="T109" fmla="*/ 536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4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222215 w 678"/>
              <a:gd name="T1" fmla="*/ 4182 h 574"/>
              <a:gd name="T2" fmla="*/ 239108 w 678"/>
              <a:gd name="T3" fmla="*/ 13591 h 574"/>
              <a:gd name="T4" fmla="*/ 279393 w 678"/>
              <a:gd name="T5" fmla="*/ 32931 h 574"/>
              <a:gd name="T6" fmla="*/ 285890 w 678"/>
              <a:gd name="T7" fmla="*/ 45999 h 574"/>
              <a:gd name="T8" fmla="*/ 293687 w 678"/>
              <a:gd name="T9" fmla="*/ 49135 h 574"/>
              <a:gd name="T10" fmla="*/ 293687 w 678"/>
              <a:gd name="T11" fmla="*/ 66385 h 574"/>
              <a:gd name="T12" fmla="*/ 293254 w 678"/>
              <a:gd name="T13" fmla="*/ 75271 h 574"/>
              <a:gd name="T14" fmla="*/ 288922 w 678"/>
              <a:gd name="T15" fmla="*/ 82589 h 574"/>
              <a:gd name="T16" fmla="*/ 280259 w 678"/>
              <a:gd name="T17" fmla="*/ 93043 h 574"/>
              <a:gd name="T18" fmla="*/ 276360 w 678"/>
              <a:gd name="T19" fmla="*/ 180859 h 574"/>
              <a:gd name="T20" fmla="*/ 199690 w 678"/>
              <a:gd name="T21" fmla="*/ 202813 h 574"/>
              <a:gd name="T22" fmla="*/ 199690 w 678"/>
              <a:gd name="T23" fmla="*/ 216926 h 574"/>
              <a:gd name="T24" fmla="*/ 197091 w 678"/>
              <a:gd name="T25" fmla="*/ 227381 h 574"/>
              <a:gd name="T26" fmla="*/ 192326 w 678"/>
              <a:gd name="T27" fmla="*/ 227381 h 574"/>
              <a:gd name="T28" fmla="*/ 187994 w 678"/>
              <a:gd name="T29" fmla="*/ 229994 h 574"/>
              <a:gd name="T30" fmla="*/ 184096 w 678"/>
              <a:gd name="T31" fmla="*/ 232608 h 574"/>
              <a:gd name="T32" fmla="*/ 179331 w 678"/>
              <a:gd name="T33" fmla="*/ 233653 h 574"/>
              <a:gd name="T34" fmla="*/ 178032 w 678"/>
              <a:gd name="T35" fmla="*/ 242017 h 574"/>
              <a:gd name="T36" fmla="*/ 177598 w 678"/>
              <a:gd name="T37" fmla="*/ 247767 h 574"/>
              <a:gd name="T38" fmla="*/ 174566 w 678"/>
              <a:gd name="T39" fmla="*/ 252471 h 574"/>
              <a:gd name="T40" fmla="*/ 158106 w 678"/>
              <a:gd name="T41" fmla="*/ 260312 h 574"/>
              <a:gd name="T42" fmla="*/ 142945 w 678"/>
              <a:gd name="T43" fmla="*/ 268152 h 574"/>
              <a:gd name="T44" fmla="*/ 135581 w 678"/>
              <a:gd name="T45" fmla="*/ 274425 h 574"/>
              <a:gd name="T46" fmla="*/ 119987 w 678"/>
              <a:gd name="T47" fmla="*/ 294811 h 574"/>
              <a:gd name="T48" fmla="*/ 111757 w 678"/>
              <a:gd name="T49" fmla="*/ 299515 h 574"/>
              <a:gd name="T50" fmla="*/ 103094 w 678"/>
              <a:gd name="T51" fmla="*/ 300038 h 574"/>
              <a:gd name="T52" fmla="*/ 83601 w 678"/>
              <a:gd name="T53" fmla="*/ 300038 h 574"/>
              <a:gd name="T54" fmla="*/ 80569 w 678"/>
              <a:gd name="T55" fmla="*/ 292197 h 574"/>
              <a:gd name="T56" fmla="*/ 71473 w 678"/>
              <a:gd name="T57" fmla="*/ 285925 h 574"/>
              <a:gd name="T58" fmla="*/ 57611 w 678"/>
              <a:gd name="T59" fmla="*/ 284879 h 574"/>
              <a:gd name="T60" fmla="*/ 40285 w 678"/>
              <a:gd name="T61" fmla="*/ 290629 h 574"/>
              <a:gd name="T62" fmla="*/ 14295 w 678"/>
              <a:gd name="T63" fmla="*/ 275470 h 574"/>
              <a:gd name="T64" fmla="*/ 0 w 678"/>
              <a:gd name="T65" fmla="*/ 148974 h 574"/>
              <a:gd name="T66" fmla="*/ 31621 w 678"/>
              <a:gd name="T67" fmla="*/ 149496 h 574"/>
              <a:gd name="T68" fmla="*/ 44616 w 678"/>
              <a:gd name="T69" fmla="*/ 147405 h 574"/>
              <a:gd name="T70" fmla="*/ 51547 w 678"/>
              <a:gd name="T71" fmla="*/ 143746 h 574"/>
              <a:gd name="T72" fmla="*/ 55879 w 678"/>
              <a:gd name="T73" fmla="*/ 133815 h 574"/>
              <a:gd name="T74" fmla="*/ 56745 w 678"/>
              <a:gd name="T75" fmla="*/ 119702 h 574"/>
              <a:gd name="T76" fmla="*/ 54579 w 678"/>
              <a:gd name="T77" fmla="*/ 96702 h 574"/>
              <a:gd name="T78" fmla="*/ 56312 w 678"/>
              <a:gd name="T79" fmla="*/ 86248 h 574"/>
              <a:gd name="T80" fmla="*/ 60643 w 678"/>
              <a:gd name="T81" fmla="*/ 89384 h 574"/>
              <a:gd name="T82" fmla="*/ 75371 w 678"/>
              <a:gd name="T83" fmla="*/ 91475 h 574"/>
              <a:gd name="T84" fmla="*/ 81435 w 678"/>
              <a:gd name="T85" fmla="*/ 97225 h 574"/>
              <a:gd name="T86" fmla="*/ 84468 w 678"/>
              <a:gd name="T87" fmla="*/ 105066 h 574"/>
              <a:gd name="T88" fmla="*/ 90099 w 678"/>
              <a:gd name="T89" fmla="*/ 109770 h 574"/>
              <a:gd name="T90" fmla="*/ 104393 w 678"/>
              <a:gd name="T91" fmla="*/ 113429 h 574"/>
              <a:gd name="T92" fmla="*/ 116522 w 678"/>
              <a:gd name="T93" fmla="*/ 111861 h 574"/>
              <a:gd name="T94" fmla="*/ 130383 w 678"/>
              <a:gd name="T95" fmla="*/ 104020 h 574"/>
              <a:gd name="T96" fmla="*/ 138180 w 678"/>
              <a:gd name="T97" fmla="*/ 102452 h 574"/>
              <a:gd name="T98" fmla="*/ 143378 w 678"/>
              <a:gd name="T99" fmla="*/ 100884 h 574"/>
              <a:gd name="T100" fmla="*/ 148576 w 678"/>
              <a:gd name="T101" fmla="*/ 99316 h 574"/>
              <a:gd name="T102" fmla="*/ 154641 w 678"/>
              <a:gd name="T103" fmla="*/ 95134 h 574"/>
              <a:gd name="T104" fmla="*/ 159405 w 678"/>
              <a:gd name="T105" fmla="*/ 87816 h 574"/>
              <a:gd name="T106" fmla="*/ 165903 w 678"/>
              <a:gd name="T107" fmla="*/ 65862 h 574"/>
              <a:gd name="T108" fmla="*/ 174566 w 678"/>
              <a:gd name="T109" fmla="*/ 24568 h 574"/>
              <a:gd name="T110" fmla="*/ 179331 w 678"/>
              <a:gd name="T111" fmla="*/ 5227 h 574"/>
              <a:gd name="T112" fmla="*/ 186695 w 678"/>
              <a:gd name="T113" fmla="*/ 3136 h 574"/>
              <a:gd name="T114" fmla="*/ 196225 w 678"/>
              <a:gd name="T115" fmla="*/ 4182 h 574"/>
              <a:gd name="T116" fmla="*/ 208786 w 678"/>
              <a:gd name="T117" fmla="*/ 523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5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345206 w 810"/>
              <a:gd name="T1" fmla="*/ 22011 h 727"/>
              <a:gd name="T2" fmla="*/ 331779 w 810"/>
              <a:gd name="T3" fmla="*/ 13626 h 727"/>
              <a:gd name="T4" fmla="*/ 310989 w 810"/>
              <a:gd name="T5" fmla="*/ 17294 h 727"/>
              <a:gd name="T6" fmla="*/ 274606 w 810"/>
              <a:gd name="T7" fmla="*/ 23059 h 727"/>
              <a:gd name="T8" fmla="*/ 261612 w 810"/>
              <a:gd name="T9" fmla="*/ 28824 h 727"/>
              <a:gd name="T10" fmla="*/ 121277 w 810"/>
              <a:gd name="T11" fmla="*/ 20963 h 727"/>
              <a:gd name="T12" fmla="*/ 100487 w 810"/>
              <a:gd name="T13" fmla="*/ 19391 h 727"/>
              <a:gd name="T14" fmla="*/ 74499 w 810"/>
              <a:gd name="T15" fmla="*/ 8909 h 727"/>
              <a:gd name="T16" fmla="*/ 50243 w 810"/>
              <a:gd name="T17" fmla="*/ 0 h 727"/>
              <a:gd name="T18" fmla="*/ 35950 w 810"/>
              <a:gd name="T19" fmla="*/ 2620 h 727"/>
              <a:gd name="T20" fmla="*/ 22956 w 810"/>
              <a:gd name="T21" fmla="*/ 12578 h 727"/>
              <a:gd name="T22" fmla="*/ 0 w 810"/>
              <a:gd name="T23" fmla="*/ 28824 h 727"/>
              <a:gd name="T24" fmla="*/ 3032 w 810"/>
              <a:gd name="T25" fmla="*/ 35637 h 727"/>
              <a:gd name="T26" fmla="*/ 11261 w 810"/>
              <a:gd name="T27" fmla="*/ 38781 h 727"/>
              <a:gd name="T28" fmla="*/ 15593 w 810"/>
              <a:gd name="T29" fmla="*/ 67605 h 727"/>
              <a:gd name="T30" fmla="*/ 25988 w 810"/>
              <a:gd name="T31" fmla="*/ 100622 h 727"/>
              <a:gd name="T32" fmla="*/ 47211 w 810"/>
              <a:gd name="T33" fmla="*/ 144644 h 727"/>
              <a:gd name="T34" fmla="*/ 57607 w 810"/>
              <a:gd name="T35" fmla="*/ 157221 h 727"/>
              <a:gd name="T36" fmla="*/ 68868 w 810"/>
              <a:gd name="T37" fmla="*/ 158270 h 727"/>
              <a:gd name="T38" fmla="*/ 68868 w 810"/>
              <a:gd name="T39" fmla="*/ 173992 h 727"/>
              <a:gd name="T40" fmla="*/ 65836 w 810"/>
              <a:gd name="T41" fmla="*/ 188142 h 727"/>
              <a:gd name="T42" fmla="*/ 63237 w 810"/>
              <a:gd name="T43" fmla="*/ 206484 h 727"/>
              <a:gd name="T44" fmla="*/ 64970 w 810"/>
              <a:gd name="T45" fmla="*/ 222730 h 727"/>
              <a:gd name="T46" fmla="*/ 74932 w 810"/>
              <a:gd name="T47" fmla="*/ 253651 h 727"/>
              <a:gd name="T48" fmla="*/ 77531 w 810"/>
              <a:gd name="T49" fmla="*/ 271469 h 727"/>
              <a:gd name="T50" fmla="*/ 80996 w 810"/>
              <a:gd name="T51" fmla="*/ 317587 h 727"/>
              <a:gd name="T52" fmla="*/ 88359 w 810"/>
              <a:gd name="T53" fmla="*/ 339074 h 727"/>
              <a:gd name="T54" fmla="*/ 100054 w 810"/>
              <a:gd name="T55" fmla="*/ 361609 h 727"/>
              <a:gd name="T56" fmla="*/ 106117 w 810"/>
              <a:gd name="T57" fmla="*/ 366850 h 727"/>
              <a:gd name="T58" fmla="*/ 112181 w 810"/>
              <a:gd name="T59" fmla="*/ 374711 h 727"/>
              <a:gd name="T60" fmla="*/ 114780 w 810"/>
              <a:gd name="T61" fmla="*/ 355320 h 727"/>
              <a:gd name="T62" fmla="*/ 133405 w 810"/>
              <a:gd name="T63" fmla="*/ 364754 h 727"/>
              <a:gd name="T64" fmla="*/ 142067 w 810"/>
              <a:gd name="T65" fmla="*/ 373663 h 727"/>
              <a:gd name="T66" fmla="*/ 161125 w 810"/>
              <a:gd name="T67" fmla="*/ 380476 h 727"/>
              <a:gd name="T68" fmla="*/ 176285 w 810"/>
              <a:gd name="T69" fmla="*/ 378904 h 727"/>
              <a:gd name="T70" fmla="*/ 185814 w 810"/>
              <a:gd name="T71" fmla="*/ 372091 h 727"/>
              <a:gd name="T72" fmla="*/ 195776 w 810"/>
              <a:gd name="T73" fmla="*/ 353748 h 727"/>
              <a:gd name="T74" fmla="*/ 200540 w 810"/>
              <a:gd name="T75" fmla="*/ 277234 h 727"/>
              <a:gd name="T76" fmla="*/ 201406 w 810"/>
              <a:gd name="T77" fmla="*/ 251554 h 727"/>
              <a:gd name="T78" fmla="*/ 204005 w 810"/>
              <a:gd name="T79" fmla="*/ 245790 h 727"/>
              <a:gd name="T80" fmla="*/ 200540 w 810"/>
              <a:gd name="T81" fmla="*/ 223254 h 727"/>
              <a:gd name="T82" fmla="*/ 203139 w 810"/>
              <a:gd name="T83" fmla="*/ 192858 h 727"/>
              <a:gd name="T84" fmla="*/ 216566 w 810"/>
              <a:gd name="T85" fmla="*/ 172944 h 727"/>
              <a:gd name="T86" fmla="*/ 227394 w 810"/>
              <a:gd name="T87" fmla="*/ 167703 h 727"/>
              <a:gd name="T88" fmla="*/ 233025 w 810"/>
              <a:gd name="T89" fmla="*/ 121585 h 727"/>
              <a:gd name="T90" fmla="*/ 238656 w 810"/>
              <a:gd name="T91" fmla="*/ 77563 h 727"/>
              <a:gd name="T92" fmla="*/ 234324 w 810"/>
              <a:gd name="T93" fmla="*/ 64985 h 727"/>
              <a:gd name="T94" fmla="*/ 229993 w 810"/>
              <a:gd name="T95" fmla="*/ 51883 h 727"/>
              <a:gd name="T96" fmla="*/ 233458 w 810"/>
              <a:gd name="T97" fmla="*/ 45070 h 727"/>
              <a:gd name="T98" fmla="*/ 267243 w 810"/>
              <a:gd name="T99" fmla="*/ 41926 h 727"/>
              <a:gd name="T100" fmla="*/ 306658 w 810"/>
              <a:gd name="T101" fmla="*/ 33017 h 727"/>
              <a:gd name="T102" fmla="*/ 347805 w 810"/>
              <a:gd name="T103" fmla="*/ 31968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6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90057 w 365"/>
              <a:gd name="T1" fmla="*/ 130339 h 271"/>
              <a:gd name="T2" fmla="*/ 72312 w 365"/>
              <a:gd name="T3" fmla="*/ 128254 h 271"/>
              <a:gd name="T4" fmla="*/ 53679 w 365"/>
              <a:gd name="T5" fmla="*/ 128775 h 271"/>
              <a:gd name="T6" fmla="*/ 40814 w 365"/>
              <a:gd name="T7" fmla="*/ 130339 h 271"/>
              <a:gd name="T8" fmla="*/ 32829 w 365"/>
              <a:gd name="T9" fmla="*/ 132946 h 271"/>
              <a:gd name="T10" fmla="*/ 11534 w 365"/>
              <a:gd name="T11" fmla="*/ 141288 h 271"/>
              <a:gd name="T12" fmla="*/ 8873 w 365"/>
              <a:gd name="T13" fmla="*/ 140767 h 271"/>
              <a:gd name="T14" fmla="*/ 7542 w 365"/>
              <a:gd name="T15" fmla="*/ 138681 h 271"/>
              <a:gd name="T16" fmla="*/ 7985 w 365"/>
              <a:gd name="T17" fmla="*/ 132425 h 271"/>
              <a:gd name="T18" fmla="*/ 11534 w 365"/>
              <a:gd name="T19" fmla="*/ 118870 h 271"/>
              <a:gd name="T20" fmla="*/ 27061 w 365"/>
              <a:gd name="T21" fmla="*/ 117827 h 271"/>
              <a:gd name="T22" fmla="*/ 39483 w 365"/>
              <a:gd name="T23" fmla="*/ 115741 h 271"/>
              <a:gd name="T24" fmla="*/ 51017 w 365"/>
              <a:gd name="T25" fmla="*/ 113656 h 271"/>
              <a:gd name="T26" fmla="*/ 64770 w 365"/>
              <a:gd name="T27" fmla="*/ 112613 h 271"/>
              <a:gd name="T28" fmla="*/ 80741 w 365"/>
              <a:gd name="T29" fmla="*/ 113656 h 271"/>
              <a:gd name="T30" fmla="*/ 88282 w 365"/>
              <a:gd name="T31" fmla="*/ 113656 h 271"/>
              <a:gd name="T32" fmla="*/ 97155 w 365"/>
              <a:gd name="T33" fmla="*/ 112613 h 271"/>
              <a:gd name="T34" fmla="*/ 95380 w 365"/>
              <a:gd name="T35" fmla="*/ 108442 h 271"/>
              <a:gd name="T36" fmla="*/ 93162 w 365"/>
              <a:gd name="T37" fmla="*/ 104793 h 271"/>
              <a:gd name="T38" fmla="*/ 86508 w 365"/>
              <a:gd name="T39" fmla="*/ 101143 h 271"/>
              <a:gd name="T40" fmla="*/ 77635 w 365"/>
              <a:gd name="T41" fmla="*/ 99579 h 271"/>
              <a:gd name="T42" fmla="*/ 67432 w 365"/>
              <a:gd name="T43" fmla="*/ 99058 h 271"/>
              <a:gd name="T44" fmla="*/ 41258 w 365"/>
              <a:gd name="T45" fmla="*/ 100101 h 271"/>
              <a:gd name="T46" fmla="*/ 28392 w 365"/>
              <a:gd name="T47" fmla="*/ 102186 h 271"/>
              <a:gd name="T48" fmla="*/ 14640 w 365"/>
              <a:gd name="T49" fmla="*/ 105836 h 271"/>
              <a:gd name="T50" fmla="*/ 16858 w 365"/>
              <a:gd name="T51" fmla="*/ 95409 h 271"/>
              <a:gd name="T52" fmla="*/ 17302 w 365"/>
              <a:gd name="T53" fmla="*/ 89674 h 271"/>
              <a:gd name="T54" fmla="*/ 11534 w 365"/>
              <a:gd name="T55" fmla="*/ 85503 h 271"/>
              <a:gd name="T56" fmla="*/ 5767 w 365"/>
              <a:gd name="T57" fmla="*/ 83417 h 271"/>
              <a:gd name="T58" fmla="*/ 4880 w 365"/>
              <a:gd name="T59" fmla="*/ 76640 h 271"/>
              <a:gd name="T60" fmla="*/ 2662 w 365"/>
              <a:gd name="T61" fmla="*/ 74554 h 271"/>
              <a:gd name="T62" fmla="*/ 887 w 365"/>
              <a:gd name="T63" fmla="*/ 73511 h 271"/>
              <a:gd name="T64" fmla="*/ 0 w 365"/>
              <a:gd name="T65" fmla="*/ 70383 h 271"/>
              <a:gd name="T66" fmla="*/ 2218 w 365"/>
              <a:gd name="T67" fmla="*/ 59956 h 271"/>
              <a:gd name="T68" fmla="*/ 7542 w 365"/>
              <a:gd name="T69" fmla="*/ 47965 h 271"/>
              <a:gd name="T70" fmla="*/ 13309 w 365"/>
              <a:gd name="T71" fmla="*/ 35974 h 271"/>
              <a:gd name="T72" fmla="*/ 17302 w 365"/>
              <a:gd name="T73" fmla="*/ 25547 h 271"/>
              <a:gd name="T74" fmla="*/ 21294 w 365"/>
              <a:gd name="T75" fmla="*/ 21897 h 271"/>
              <a:gd name="T76" fmla="*/ 21738 w 365"/>
              <a:gd name="T77" fmla="*/ 25025 h 271"/>
              <a:gd name="T78" fmla="*/ 23069 w 365"/>
              <a:gd name="T79" fmla="*/ 18769 h 271"/>
              <a:gd name="T80" fmla="*/ 33272 w 365"/>
              <a:gd name="T81" fmla="*/ 16162 h 271"/>
              <a:gd name="T82" fmla="*/ 50574 w 365"/>
              <a:gd name="T83" fmla="*/ 9384 h 271"/>
              <a:gd name="T84" fmla="*/ 73199 w 365"/>
              <a:gd name="T85" fmla="*/ 0 h 271"/>
              <a:gd name="T86" fmla="*/ 81628 w 365"/>
              <a:gd name="T87" fmla="*/ 7820 h 271"/>
              <a:gd name="T88" fmla="*/ 89613 w 365"/>
              <a:gd name="T89" fmla="*/ 12513 h 271"/>
              <a:gd name="T90" fmla="*/ 97599 w 365"/>
              <a:gd name="T91" fmla="*/ 15119 h 271"/>
              <a:gd name="T92" fmla="*/ 106028 w 365"/>
              <a:gd name="T93" fmla="*/ 15641 h 271"/>
              <a:gd name="T94" fmla="*/ 106915 w 365"/>
              <a:gd name="T95" fmla="*/ 27111 h 271"/>
              <a:gd name="T96" fmla="*/ 109577 w 365"/>
              <a:gd name="T97" fmla="*/ 35974 h 271"/>
              <a:gd name="T98" fmla="*/ 112682 w 365"/>
              <a:gd name="T99" fmla="*/ 43794 h 271"/>
              <a:gd name="T100" fmla="*/ 117118 w 365"/>
              <a:gd name="T101" fmla="*/ 49529 h 271"/>
              <a:gd name="T102" fmla="*/ 135307 w 365"/>
              <a:gd name="T103" fmla="*/ 67255 h 271"/>
              <a:gd name="T104" fmla="*/ 156158 w 365"/>
              <a:gd name="T105" fmla="*/ 121998 h 271"/>
              <a:gd name="T106" fmla="*/ 159263 w 365"/>
              <a:gd name="T107" fmla="*/ 133989 h 271"/>
              <a:gd name="T108" fmla="*/ 161925 w 365"/>
              <a:gd name="T109" fmla="*/ 141288 h 271"/>
              <a:gd name="T110" fmla="*/ 142405 w 365"/>
              <a:gd name="T111" fmla="*/ 135032 h 271"/>
              <a:gd name="T112" fmla="*/ 121998 w 365"/>
              <a:gd name="T113" fmla="*/ 131382 h 271"/>
              <a:gd name="T114" fmla="*/ 110020 w 365"/>
              <a:gd name="T115" fmla="*/ 130861 h 271"/>
              <a:gd name="T116" fmla="*/ 97155 w 365"/>
              <a:gd name="T117" fmla="*/ 131382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7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63144 w 624"/>
              <a:gd name="T1" fmla="*/ 6281 h 640"/>
              <a:gd name="T2" fmla="*/ 103366 w 624"/>
              <a:gd name="T3" fmla="*/ 6281 h 640"/>
              <a:gd name="T4" fmla="*/ 124125 w 624"/>
              <a:gd name="T5" fmla="*/ 2617 h 640"/>
              <a:gd name="T6" fmla="*/ 140992 w 624"/>
              <a:gd name="T7" fmla="*/ 11514 h 640"/>
              <a:gd name="T8" fmla="*/ 171267 w 624"/>
              <a:gd name="T9" fmla="*/ 34543 h 640"/>
              <a:gd name="T10" fmla="*/ 201109 w 624"/>
              <a:gd name="T11" fmla="*/ 58095 h 640"/>
              <a:gd name="T12" fmla="*/ 202839 w 624"/>
              <a:gd name="T13" fmla="*/ 68563 h 640"/>
              <a:gd name="T14" fmla="*/ 207596 w 624"/>
              <a:gd name="T15" fmla="*/ 80077 h 640"/>
              <a:gd name="T16" fmla="*/ 214949 w 624"/>
              <a:gd name="T17" fmla="*/ 88975 h 640"/>
              <a:gd name="T18" fmla="*/ 224463 w 624"/>
              <a:gd name="T19" fmla="*/ 95778 h 640"/>
              <a:gd name="T20" fmla="*/ 234843 w 624"/>
              <a:gd name="T21" fmla="*/ 99442 h 640"/>
              <a:gd name="T22" fmla="*/ 239601 w 624"/>
              <a:gd name="T23" fmla="*/ 102059 h 640"/>
              <a:gd name="T24" fmla="*/ 244358 w 624"/>
              <a:gd name="T25" fmla="*/ 107293 h 640"/>
              <a:gd name="T26" fmla="*/ 242628 w 624"/>
              <a:gd name="T27" fmla="*/ 118807 h 640"/>
              <a:gd name="T28" fmla="*/ 232248 w 624"/>
              <a:gd name="T29" fmla="*/ 131892 h 640"/>
              <a:gd name="T30" fmla="*/ 227058 w 624"/>
              <a:gd name="T31" fmla="*/ 141836 h 640"/>
              <a:gd name="T32" fmla="*/ 230518 w 624"/>
              <a:gd name="T33" fmla="*/ 150210 h 640"/>
              <a:gd name="T34" fmla="*/ 236573 w 624"/>
              <a:gd name="T35" fmla="*/ 156491 h 640"/>
              <a:gd name="T36" fmla="*/ 238736 w 624"/>
              <a:gd name="T37" fmla="*/ 222436 h 640"/>
              <a:gd name="T38" fmla="*/ 237871 w 624"/>
              <a:gd name="T39" fmla="*/ 229764 h 640"/>
              <a:gd name="T40" fmla="*/ 241331 w 624"/>
              <a:gd name="T41" fmla="*/ 241801 h 640"/>
              <a:gd name="T42" fmla="*/ 241331 w 624"/>
              <a:gd name="T43" fmla="*/ 255933 h 640"/>
              <a:gd name="T44" fmla="*/ 242628 w 624"/>
              <a:gd name="T45" fmla="*/ 269541 h 640"/>
              <a:gd name="T46" fmla="*/ 256900 w 624"/>
              <a:gd name="T47" fmla="*/ 287335 h 640"/>
              <a:gd name="T48" fmla="*/ 266415 w 624"/>
              <a:gd name="T49" fmla="*/ 303037 h 640"/>
              <a:gd name="T50" fmla="*/ 248683 w 624"/>
              <a:gd name="T51" fmla="*/ 314028 h 640"/>
              <a:gd name="T52" fmla="*/ 212354 w 624"/>
              <a:gd name="T53" fmla="*/ 330253 h 640"/>
              <a:gd name="T54" fmla="*/ 191594 w 624"/>
              <a:gd name="T55" fmla="*/ 333916 h 640"/>
              <a:gd name="T56" fmla="*/ 169537 w 624"/>
              <a:gd name="T57" fmla="*/ 328682 h 640"/>
              <a:gd name="T58" fmla="*/ 146615 w 624"/>
              <a:gd name="T59" fmla="*/ 331299 h 640"/>
              <a:gd name="T60" fmla="*/ 132343 w 624"/>
              <a:gd name="T61" fmla="*/ 328682 h 640"/>
              <a:gd name="T62" fmla="*/ 129315 w 624"/>
              <a:gd name="T63" fmla="*/ 321355 h 640"/>
              <a:gd name="T64" fmla="*/ 127153 w 624"/>
              <a:gd name="T65" fmla="*/ 299897 h 640"/>
              <a:gd name="T66" fmla="*/ 124558 w 624"/>
              <a:gd name="T67" fmla="*/ 276868 h 640"/>
              <a:gd name="T68" fmla="*/ 109420 w 624"/>
              <a:gd name="T69" fmla="*/ 270587 h 640"/>
              <a:gd name="T70" fmla="*/ 80011 w 624"/>
              <a:gd name="T71" fmla="*/ 262737 h 640"/>
              <a:gd name="T72" fmla="*/ 38924 w 624"/>
              <a:gd name="T73" fmla="*/ 240231 h 640"/>
              <a:gd name="T74" fmla="*/ 29409 w 624"/>
              <a:gd name="T75" fmla="*/ 233427 h 640"/>
              <a:gd name="T76" fmla="*/ 28544 w 624"/>
              <a:gd name="T77" fmla="*/ 224007 h 640"/>
              <a:gd name="T78" fmla="*/ 28112 w 624"/>
              <a:gd name="T79" fmla="*/ 210399 h 640"/>
              <a:gd name="T80" fmla="*/ 22922 w 624"/>
              <a:gd name="T81" fmla="*/ 197314 h 640"/>
              <a:gd name="T82" fmla="*/ 17732 w 624"/>
              <a:gd name="T83" fmla="*/ 186847 h 640"/>
              <a:gd name="T84" fmla="*/ 11677 w 624"/>
              <a:gd name="T85" fmla="*/ 181613 h 640"/>
              <a:gd name="T86" fmla="*/ 5190 w 624"/>
              <a:gd name="T87" fmla="*/ 173762 h 640"/>
              <a:gd name="T88" fmla="*/ 2162 w 624"/>
              <a:gd name="T89" fmla="*/ 161201 h 640"/>
              <a:gd name="T90" fmla="*/ 0 w 624"/>
              <a:gd name="T91" fmla="*/ 137125 h 640"/>
              <a:gd name="T92" fmla="*/ 0 w 624"/>
              <a:gd name="T93" fmla="*/ 122471 h 640"/>
              <a:gd name="T94" fmla="*/ 4325 w 624"/>
              <a:gd name="T95" fmla="*/ 110956 h 640"/>
              <a:gd name="T96" fmla="*/ 16435 w 624"/>
              <a:gd name="T97" fmla="*/ 102059 h 640"/>
              <a:gd name="T98" fmla="*/ 26382 w 624"/>
              <a:gd name="T99" fmla="*/ 90545 h 640"/>
              <a:gd name="T100" fmla="*/ 33302 w 624"/>
              <a:gd name="T101" fmla="*/ 40300 h 640"/>
              <a:gd name="T102" fmla="*/ 36329 w 624"/>
              <a:gd name="T103" fmla="*/ 22505 h 640"/>
              <a:gd name="T104" fmla="*/ 35464 w 624"/>
              <a:gd name="T105" fmla="*/ 418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8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4763 w 52"/>
              <a:gd name="T1" fmla="*/ 57150 h 50"/>
              <a:gd name="T2" fmla="*/ 0 w 52"/>
              <a:gd name="T3" fmla="*/ 36576 h 50"/>
              <a:gd name="T4" fmla="*/ 733 w 52"/>
              <a:gd name="T5" fmla="*/ 28575 h 50"/>
              <a:gd name="T6" fmla="*/ 2198 w 52"/>
              <a:gd name="T7" fmla="*/ 20574 h 50"/>
              <a:gd name="T8" fmla="*/ 4396 w 52"/>
              <a:gd name="T9" fmla="*/ 14859 h 50"/>
              <a:gd name="T10" fmla="*/ 6594 w 52"/>
              <a:gd name="T11" fmla="*/ 10287 h 50"/>
              <a:gd name="T12" fmla="*/ 9525 w 52"/>
              <a:gd name="T13" fmla="*/ 5715 h 50"/>
              <a:gd name="T14" fmla="*/ 12456 w 52"/>
              <a:gd name="T15" fmla="*/ 3429 h 50"/>
              <a:gd name="T16" fmla="*/ 15753 w 52"/>
              <a:gd name="T17" fmla="*/ 1143 h 50"/>
              <a:gd name="T18" fmla="*/ 19050 w 52"/>
              <a:gd name="T19" fmla="*/ 0 h 50"/>
              <a:gd name="T20" fmla="*/ 14654 w 52"/>
              <a:gd name="T21" fmla="*/ 12573 h 50"/>
              <a:gd name="T22" fmla="*/ 9891 w 52"/>
              <a:gd name="T23" fmla="*/ 25146 h 50"/>
              <a:gd name="T24" fmla="*/ 8060 w 52"/>
              <a:gd name="T25" fmla="*/ 34290 h 50"/>
              <a:gd name="T26" fmla="*/ 6228 w 52"/>
              <a:gd name="T27" fmla="*/ 41148 h 50"/>
              <a:gd name="T28" fmla="*/ 5129 w 52"/>
              <a:gd name="T29" fmla="*/ 49149 h 50"/>
              <a:gd name="T30" fmla="*/ 4763 w 52"/>
              <a:gd name="T31" fmla="*/ 57150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9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33556 w 320"/>
              <a:gd name="T1" fmla="*/ 123804 h 234"/>
              <a:gd name="T2" fmla="*/ 26933 w 320"/>
              <a:gd name="T3" fmla="*/ 121124 h 234"/>
              <a:gd name="T4" fmla="*/ 29141 w 320"/>
              <a:gd name="T5" fmla="*/ 118981 h 234"/>
              <a:gd name="T6" fmla="*/ 33997 w 320"/>
              <a:gd name="T7" fmla="*/ 116301 h 234"/>
              <a:gd name="T8" fmla="*/ 28258 w 320"/>
              <a:gd name="T9" fmla="*/ 109334 h 234"/>
              <a:gd name="T10" fmla="*/ 18986 w 320"/>
              <a:gd name="T11" fmla="*/ 101294 h 234"/>
              <a:gd name="T12" fmla="*/ 15895 w 320"/>
              <a:gd name="T13" fmla="*/ 95935 h 234"/>
              <a:gd name="T14" fmla="*/ 15012 w 320"/>
              <a:gd name="T15" fmla="*/ 91647 h 234"/>
              <a:gd name="T16" fmla="*/ 15012 w 320"/>
              <a:gd name="T17" fmla="*/ 87896 h 234"/>
              <a:gd name="T18" fmla="*/ 15895 w 320"/>
              <a:gd name="T19" fmla="*/ 84144 h 234"/>
              <a:gd name="T20" fmla="*/ 18986 w 320"/>
              <a:gd name="T21" fmla="*/ 79856 h 234"/>
              <a:gd name="T22" fmla="*/ 24725 w 320"/>
              <a:gd name="T23" fmla="*/ 75569 h 234"/>
              <a:gd name="T24" fmla="*/ 32231 w 320"/>
              <a:gd name="T25" fmla="*/ 73425 h 234"/>
              <a:gd name="T26" fmla="*/ 35322 w 320"/>
              <a:gd name="T27" fmla="*/ 67530 h 234"/>
              <a:gd name="T28" fmla="*/ 29582 w 320"/>
              <a:gd name="T29" fmla="*/ 59490 h 234"/>
              <a:gd name="T30" fmla="*/ 26933 w 320"/>
              <a:gd name="T31" fmla="*/ 54667 h 234"/>
              <a:gd name="T32" fmla="*/ 26492 w 320"/>
              <a:gd name="T33" fmla="*/ 46092 h 234"/>
              <a:gd name="T34" fmla="*/ 24284 w 320"/>
              <a:gd name="T35" fmla="*/ 37516 h 234"/>
              <a:gd name="T36" fmla="*/ 20310 w 320"/>
              <a:gd name="T37" fmla="*/ 24654 h 234"/>
              <a:gd name="T38" fmla="*/ 14570 w 320"/>
              <a:gd name="T39" fmla="*/ 16614 h 234"/>
              <a:gd name="T40" fmla="*/ 8831 w 320"/>
              <a:gd name="T41" fmla="*/ 13399 h 234"/>
              <a:gd name="T42" fmla="*/ 3091 w 320"/>
              <a:gd name="T43" fmla="*/ 5359 h 234"/>
              <a:gd name="T44" fmla="*/ 3974 w 320"/>
              <a:gd name="T45" fmla="*/ 0 h 234"/>
              <a:gd name="T46" fmla="*/ 10597 w 320"/>
              <a:gd name="T47" fmla="*/ 0 h 234"/>
              <a:gd name="T48" fmla="*/ 16778 w 320"/>
              <a:gd name="T49" fmla="*/ 1608 h 234"/>
              <a:gd name="T50" fmla="*/ 24725 w 320"/>
              <a:gd name="T51" fmla="*/ 8575 h 234"/>
              <a:gd name="T52" fmla="*/ 34439 w 320"/>
              <a:gd name="T53" fmla="*/ 18758 h 234"/>
              <a:gd name="T54" fmla="*/ 42386 w 320"/>
              <a:gd name="T55" fmla="*/ 25726 h 234"/>
              <a:gd name="T56" fmla="*/ 52541 w 320"/>
              <a:gd name="T57" fmla="*/ 31085 h 234"/>
              <a:gd name="T58" fmla="*/ 67112 w 320"/>
              <a:gd name="T59" fmla="*/ 37516 h 234"/>
              <a:gd name="T60" fmla="*/ 79916 w 320"/>
              <a:gd name="T61" fmla="*/ 42340 h 234"/>
              <a:gd name="T62" fmla="*/ 94486 w 320"/>
              <a:gd name="T63" fmla="*/ 45556 h 234"/>
              <a:gd name="T64" fmla="*/ 104200 w 320"/>
              <a:gd name="T65" fmla="*/ 41268 h 234"/>
              <a:gd name="T66" fmla="*/ 113472 w 320"/>
              <a:gd name="T67" fmla="*/ 44484 h 234"/>
              <a:gd name="T68" fmla="*/ 125393 w 320"/>
              <a:gd name="T69" fmla="*/ 57347 h 234"/>
              <a:gd name="T70" fmla="*/ 134665 w 320"/>
              <a:gd name="T71" fmla="*/ 63778 h 234"/>
              <a:gd name="T72" fmla="*/ 131133 w 320"/>
              <a:gd name="T73" fmla="*/ 71281 h 234"/>
              <a:gd name="T74" fmla="*/ 118329 w 320"/>
              <a:gd name="T75" fmla="*/ 77177 h 234"/>
              <a:gd name="T76" fmla="*/ 109940 w 320"/>
              <a:gd name="T77" fmla="*/ 79320 h 234"/>
              <a:gd name="T78" fmla="*/ 104641 w 320"/>
              <a:gd name="T79" fmla="*/ 85216 h 234"/>
              <a:gd name="T80" fmla="*/ 102434 w 320"/>
              <a:gd name="T81" fmla="*/ 94327 h 234"/>
              <a:gd name="T82" fmla="*/ 101992 w 320"/>
              <a:gd name="T83" fmla="*/ 100222 h 234"/>
              <a:gd name="T84" fmla="*/ 98019 w 320"/>
              <a:gd name="T85" fmla="*/ 102902 h 234"/>
              <a:gd name="T86" fmla="*/ 90071 w 320"/>
              <a:gd name="T87" fmla="*/ 101294 h 234"/>
              <a:gd name="T88" fmla="*/ 82124 w 320"/>
              <a:gd name="T89" fmla="*/ 97007 h 234"/>
              <a:gd name="T90" fmla="*/ 74176 w 320"/>
              <a:gd name="T91" fmla="*/ 91111 h 234"/>
              <a:gd name="T92" fmla="*/ 68436 w 320"/>
              <a:gd name="T93" fmla="*/ 87896 h 234"/>
              <a:gd name="T94" fmla="*/ 64021 w 320"/>
              <a:gd name="T95" fmla="*/ 86288 h 234"/>
              <a:gd name="T96" fmla="*/ 57840 w 320"/>
              <a:gd name="T97" fmla="*/ 86824 h 234"/>
              <a:gd name="T98" fmla="*/ 50334 w 320"/>
              <a:gd name="T99" fmla="*/ 89503 h 234"/>
              <a:gd name="T100" fmla="*/ 44153 w 320"/>
              <a:gd name="T101" fmla="*/ 92719 h 234"/>
              <a:gd name="T102" fmla="*/ 38413 w 320"/>
              <a:gd name="T103" fmla="*/ 95399 h 234"/>
              <a:gd name="T104" fmla="*/ 37530 w 320"/>
              <a:gd name="T105" fmla="*/ 98079 h 234"/>
              <a:gd name="T106" fmla="*/ 42386 w 320"/>
              <a:gd name="T107" fmla="*/ 102366 h 234"/>
              <a:gd name="T108" fmla="*/ 51217 w 320"/>
              <a:gd name="T109" fmla="*/ 107190 h 234"/>
              <a:gd name="T110" fmla="*/ 55632 w 320"/>
              <a:gd name="T111" fmla="*/ 113621 h 234"/>
              <a:gd name="T112" fmla="*/ 49892 w 320"/>
              <a:gd name="T113" fmla="*/ 120053 h 234"/>
              <a:gd name="T114" fmla="*/ 45036 w 320"/>
              <a:gd name="T115" fmla="*/ 123804 h 234"/>
              <a:gd name="T116" fmla="*/ 40179 w 320"/>
              <a:gd name="T117" fmla="*/ 125412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0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13830 w 125"/>
              <a:gd name="T1" fmla="*/ 11676 h 93"/>
              <a:gd name="T2" fmla="*/ 18021 w 125"/>
              <a:gd name="T3" fmla="*/ 11676 h 93"/>
              <a:gd name="T4" fmla="*/ 21793 w 125"/>
              <a:gd name="T5" fmla="*/ 11676 h 93"/>
              <a:gd name="T6" fmla="*/ 23050 w 125"/>
              <a:gd name="T7" fmla="*/ 11676 h 93"/>
              <a:gd name="T8" fmla="*/ 24308 w 125"/>
              <a:gd name="T9" fmla="*/ 10447 h 93"/>
              <a:gd name="T10" fmla="*/ 25565 w 125"/>
              <a:gd name="T11" fmla="*/ 9218 h 93"/>
              <a:gd name="T12" fmla="*/ 27241 w 125"/>
              <a:gd name="T13" fmla="*/ 6760 h 93"/>
              <a:gd name="T14" fmla="*/ 28499 w 125"/>
              <a:gd name="T15" fmla="*/ 4916 h 93"/>
              <a:gd name="T16" fmla="*/ 29337 w 125"/>
              <a:gd name="T17" fmla="*/ 3073 h 93"/>
              <a:gd name="T18" fmla="*/ 30175 w 125"/>
              <a:gd name="T19" fmla="*/ 1844 h 93"/>
              <a:gd name="T20" fmla="*/ 30175 w 125"/>
              <a:gd name="T21" fmla="*/ 0 h 93"/>
              <a:gd name="T22" fmla="*/ 49453 w 125"/>
              <a:gd name="T23" fmla="*/ 0 h 93"/>
              <a:gd name="T24" fmla="*/ 51130 w 125"/>
              <a:gd name="T25" fmla="*/ 9218 h 93"/>
              <a:gd name="T26" fmla="*/ 52387 w 125"/>
              <a:gd name="T27" fmla="*/ 15363 h 93"/>
              <a:gd name="T28" fmla="*/ 51968 w 125"/>
              <a:gd name="T29" fmla="*/ 17821 h 93"/>
              <a:gd name="T30" fmla="*/ 51130 w 125"/>
              <a:gd name="T31" fmla="*/ 20279 h 93"/>
              <a:gd name="T32" fmla="*/ 49872 w 125"/>
              <a:gd name="T33" fmla="*/ 21508 h 93"/>
              <a:gd name="T34" fmla="*/ 49034 w 125"/>
              <a:gd name="T35" fmla="*/ 22737 h 93"/>
              <a:gd name="T36" fmla="*/ 46520 w 125"/>
              <a:gd name="T37" fmla="*/ 24581 h 93"/>
              <a:gd name="T38" fmla="*/ 43586 w 125"/>
              <a:gd name="T39" fmla="*/ 25195 h 93"/>
              <a:gd name="T40" fmla="*/ 36880 w 125"/>
              <a:gd name="T41" fmla="*/ 25195 h 93"/>
              <a:gd name="T42" fmla="*/ 30175 w 125"/>
              <a:gd name="T43" fmla="*/ 26424 h 93"/>
              <a:gd name="T44" fmla="*/ 29337 w 125"/>
              <a:gd name="T45" fmla="*/ 28882 h 93"/>
              <a:gd name="T46" fmla="*/ 28918 w 125"/>
              <a:gd name="T47" fmla="*/ 32569 h 93"/>
              <a:gd name="T48" fmla="*/ 28079 w 125"/>
              <a:gd name="T49" fmla="*/ 37485 h 93"/>
              <a:gd name="T50" fmla="*/ 28079 w 125"/>
              <a:gd name="T51" fmla="*/ 43631 h 93"/>
              <a:gd name="T52" fmla="*/ 27660 w 125"/>
              <a:gd name="T53" fmla="*/ 52848 h 93"/>
              <a:gd name="T54" fmla="*/ 27660 w 125"/>
              <a:gd name="T55" fmla="*/ 57150 h 93"/>
              <a:gd name="T56" fmla="*/ 20536 w 125"/>
              <a:gd name="T57" fmla="*/ 52234 h 93"/>
              <a:gd name="T58" fmla="*/ 11316 w 125"/>
              <a:gd name="T59" fmla="*/ 44860 h 93"/>
              <a:gd name="T60" fmla="*/ 6706 w 125"/>
              <a:gd name="T61" fmla="*/ 39944 h 93"/>
              <a:gd name="T62" fmla="*/ 2934 w 125"/>
              <a:gd name="T63" fmla="*/ 35642 h 93"/>
              <a:gd name="T64" fmla="*/ 1676 w 125"/>
              <a:gd name="T65" fmla="*/ 33184 h 93"/>
              <a:gd name="T66" fmla="*/ 838 w 125"/>
              <a:gd name="T67" fmla="*/ 30726 h 93"/>
              <a:gd name="T68" fmla="*/ 0 w 125"/>
              <a:gd name="T69" fmla="*/ 28882 h 93"/>
              <a:gd name="T70" fmla="*/ 0 w 125"/>
              <a:gd name="T71" fmla="*/ 26424 h 93"/>
              <a:gd name="T72" fmla="*/ 2934 w 125"/>
              <a:gd name="T73" fmla="*/ 26424 h 93"/>
              <a:gd name="T74" fmla="*/ 6286 w 125"/>
              <a:gd name="T75" fmla="*/ 25195 h 93"/>
              <a:gd name="T76" fmla="*/ 8382 w 125"/>
              <a:gd name="T77" fmla="*/ 23966 h 93"/>
              <a:gd name="T78" fmla="*/ 9639 w 125"/>
              <a:gd name="T79" fmla="*/ 22123 h 93"/>
              <a:gd name="T80" fmla="*/ 11735 w 125"/>
              <a:gd name="T81" fmla="*/ 17206 h 93"/>
              <a:gd name="T82" fmla="*/ 13830 w 125"/>
              <a:gd name="T83" fmla="*/ 11676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1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9071 w 133"/>
              <a:gd name="T1" fmla="*/ 6556 h 154"/>
              <a:gd name="T2" fmla="*/ 10886 w 133"/>
              <a:gd name="T3" fmla="*/ 5463 h 154"/>
              <a:gd name="T4" fmla="*/ 14061 w 133"/>
              <a:gd name="T5" fmla="*/ 3278 h 154"/>
              <a:gd name="T6" fmla="*/ 15421 w 133"/>
              <a:gd name="T7" fmla="*/ 2185 h 154"/>
              <a:gd name="T8" fmla="*/ 16782 w 133"/>
              <a:gd name="T9" fmla="*/ 1093 h 154"/>
              <a:gd name="T10" fmla="*/ 19050 w 133"/>
              <a:gd name="T11" fmla="*/ 546 h 154"/>
              <a:gd name="T12" fmla="*/ 20864 w 133"/>
              <a:gd name="T13" fmla="*/ 0 h 154"/>
              <a:gd name="T14" fmla="*/ 26761 w 133"/>
              <a:gd name="T15" fmla="*/ 546 h 154"/>
              <a:gd name="T16" fmla="*/ 31750 w 133"/>
              <a:gd name="T17" fmla="*/ 2185 h 154"/>
              <a:gd name="T18" fmla="*/ 36739 w 133"/>
              <a:gd name="T19" fmla="*/ 4371 h 154"/>
              <a:gd name="T20" fmla="*/ 40821 w 133"/>
              <a:gd name="T21" fmla="*/ 7649 h 154"/>
              <a:gd name="T22" fmla="*/ 44904 w 133"/>
              <a:gd name="T23" fmla="*/ 11473 h 154"/>
              <a:gd name="T24" fmla="*/ 47625 w 133"/>
              <a:gd name="T25" fmla="*/ 16390 h 154"/>
              <a:gd name="T26" fmla="*/ 50800 w 133"/>
              <a:gd name="T27" fmla="*/ 21854 h 154"/>
              <a:gd name="T28" fmla="*/ 52614 w 133"/>
              <a:gd name="T29" fmla="*/ 27317 h 154"/>
              <a:gd name="T30" fmla="*/ 54882 w 133"/>
              <a:gd name="T31" fmla="*/ 32781 h 154"/>
              <a:gd name="T32" fmla="*/ 56243 w 133"/>
              <a:gd name="T33" fmla="*/ 38790 h 154"/>
              <a:gd name="T34" fmla="*/ 57604 w 133"/>
              <a:gd name="T35" fmla="*/ 44800 h 154"/>
              <a:gd name="T36" fmla="*/ 58964 w 133"/>
              <a:gd name="T37" fmla="*/ 51356 h 154"/>
              <a:gd name="T38" fmla="*/ 59871 w 133"/>
              <a:gd name="T39" fmla="*/ 63376 h 154"/>
              <a:gd name="T40" fmla="*/ 60325 w 133"/>
              <a:gd name="T41" fmla="*/ 73756 h 154"/>
              <a:gd name="T42" fmla="*/ 59871 w 133"/>
              <a:gd name="T43" fmla="*/ 75395 h 154"/>
              <a:gd name="T44" fmla="*/ 58964 w 133"/>
              <a:gd name="T45" fmla="*/ 77035 h 154"/>
              <a:gd name="T46" fmla="*/ 56696 w 133"/>
              <a:gd name="T47" fmla="*/ 78674 h 154"/>
              <a:gd name="T48" fmla="*/ 54882 w 133"/>
              <a:gd name="T49" fmla="*/ 80313 h 154"/>
              <a:gd name="T50" fmla="*/ 52161 w 133"/>
              <a:gd name="T51" fmla="*/ 81952 h 154"/>
              <a:gd name="T52" fmla="*/ 49893 w 133"/>
              <a:gd name="T53" fmla="*/ 83591 h 154"/>
              <a:gd name="T54" fmla="*/ 47171 w 133"/>
              <a:gd name="T55" fmla="*/ 84137 h 154"/>
              <a:gd name="T56" fmla="*/ 44904 w 133"/>
              <a:gd name="T57" fmla="*/ 84137 h 154"/>
              <a:gd name="T58" fmla="*/ 42182 w 133"/>
              <a:gd name="T59" fmla="*/ 83591 h 154"/>
              <a:gd name="T60" fmla="*/ 39461 w 133"/>
              <a:gd name="T61" fmla="*/ 81405 h 154"/>
              <a:gd name="T62" fmla="*/ 35832 w 133"/>
              <a:gd name="T63" fmla="*/ 77035 h 154"/>
              <a:gd name="T64" fmla="*/ 32204 w 133"/>
              <a:gd name="T65" fmla="*/ 73210 h 154"/>
              <a:gd name="T66" fmla="*/ 29029 w 133"/>
              <a:gd name="T67" fmla="*/ 68839 h 154"/>
              <a:gd name="T68" fmla="*/ 26307 w 133"/>
              <a:gd name="T69" fmla="*/ 64469 h 154"/>
              <a:gd name="T70" fmla="*/ 24493 w 133"/>
              <a:gd name="T71" fmla="*/ 60644 h 154"/>
              <a:gd name="T72" fmla="*/ 24039 w 133"/>
              <a:gd name="T73" fmla="*/ 57366 h 154"/>
              <a:gd name="T74" fmla="*/ 24493 w 133"/>
              <a:gd name="T75" fmla="*/ 53542 h 154"/>
              <a:gd name="T76" fmla="*/ 25400 w 133"/>
              <a:gd name="T77" fmla="*/ 45347 h 154"/>
              <a:gd name="T78" fmla="*/ 26307 w 133"/>
              <a:gd name="T79" fmla="*/ 37151 h 154"/>
              <a:gd name="T80" fmla="*/ 26761 w 133"/>
              <a:gd name="T81" fmla="*/ 33873 h 154"/>
              <a:gd name="T82" fmla="*/ 21318 w 133"/>
              <a:gd name="T83" fmla="*/ 33327 h 154"/>
              <a:gd name="T84" fmla="*/ 16329 w 133"/>
              <a:gd name="T85" fmla="*/ 32234 h 154"/>
              <a:gd name="T86" fmla="*/ 11339 w 133"/>
              <a:gd name="T87" fmla="*/ 30595 h 154"/>
              <a:gd name="T88" fmla="*/ 7711 w 133"/>
              <a:gd name="T89" fmla="*/ 28410 h 154"/>
              <a:gd name="T90" fmla="*/ 5896 w 133"/>
              <a:gd name="T91" fmla="*/ 26771 h 154"/>
              <a:gd name="T92" fmla="*/ 4536 w 133"/>
              <a:gd name="T93" fmla="*/ 25132 h 154"/>
              <a:gd name="T94" fmla="*/ 3175 w 133"/>
              <a:gd name="T95" fmla="*/ 23493 h 154"/>
              <a:gd name="T96" fmla="*/ 1814 w 133"/>
              <a:gd name="T97" fmla="*/ 21307 h 154"/>
              <a:gd name="T98" fmla="*/ 907 w 133"/>
              <a:gd name="T99" fmla="*/ 18576 h 154"/>
              <a:gd name="T100" fmla="*/ 454 w 133"/>
              <a:gd name="T101" fmla="*/ 15844 h 154"/>
              <a:gd name="T102" fmla="*/ 0 w 133"/>
              <a:gd name="T103" fmla="*/ 13112 h 154"/>
              <a:gd name="T104" fmla="*/ 0 w 133"/>
              <a:gd name="T105" fmla="*/ 9834 h 154"/>
              <a:gd name="T106" fmla="*/ 3175 w 133"/>
              <a:gd name="T107" fmla="*/ 8195 h 154"/>
              <a:gd name="T108" fmla="*/ 9071 w 133"/>
              <a:gd name="T109" fmla="*/ 6556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2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57896 w 485"/>
              <a:gd name="T1" fmla="*/ 183356 h 468"/>
              <a:gd name="T2" fmla="*/ 72154 w 485"/>
              <a:gd name="T3" fmla="*/ 177088 h 468"/>
              <a:gd name="T4" fmla="*/ 86412 w 485"/>
              <a:gd name="T5" fmla="*/ 177088 h 468"/>
              <a:gd name="T6" fmla="*/ 97646 w 485"/>
              <a:gd name="T7" fmla="*/ 181789 h 468"/>
              <a:gd name="T8" fmla="*/ 96782 w 485"/>
              <a:gd name="T9" fmla="*/ 170819 h 468"/>
              <a:gd name="T10" fmla="*/ 95054 w 485"/>
              <a:gd name="T11" fmla="*/ 165073 h 468"/>
              <a:gd name="T12" fmla="*/ 100670 w 485"/>
              <a:gd name="T13" fmla="*/ 158282 h 468"/>
              <a:gd name="T14" fmla="*/ 103263 w 485"/>
              <a:gd name="T15" fmla="*/ 144178 h 468"/>
              <a:gd name="T16" fmla="*/ 104559 w 485"/>
              <a:gd name="T17" fmla="*/ 128506 h 468"/>
              <a:gd name="T18" fmla="*/ 115793 w 485"/>
              <a:gd name="T19" fmla="*/ 133208 h 468"/>
              <a:gd name="T20" fmla="*/ 129619 w 485"/>
              <a:gd name="T21" fmla="*/ 124327 h 468"/>
              <a:gd name="T22" fmla="*/ 136532 w 485"/>
              <a:gd name="T23" fmla="*/ 113357 h 468"/>
              <a:gd name="T24" fmla="*/ 126594 w 485"/>
              <a:gd name="T25" fmla="*/ 101342 h 468"/>
              <a:gd name="T26" fmla="*/ 137396 w 485"/>
              <a:gd name="T27" fmla="*/ 103954 h 468"/>
              <a:gd name="T28" fmla="*/ 148197 w 485"/>
              <a:gd name="T29" fmla="*/ 105521 h 468"/>
              <a:gd name="T30" fmla="*/ 149493 w 485"/>
              <a:gd name="T31" fmla="*/ 96641 h 468"/>
              <a:gd name="T32" fmla="*/ 127458 w 485"/>
              <a:gd name="T33" fmla="*/ 50149 h 468"/>
              <a:gd name="T34" fmla="*/ 123138 w 485"/>
              <a:gd name="T35" fmla="*/ 27686 h 468"/>
              <a:gd name="T36" fmla="*/ 125730 w 485"/>
              <a:gd name="T37" fmla="*/ 9925 h 468"/>
              <a:gd name="T38" fmla="*/ 136532 w 485"/>
              <a:gd name="T39" fmla="*/ 522 h 468"/>
              <a:gd name="T40" fmla="*/ 145173 w 485"/>
              <a:gd name="T41" fmla="*/ 9403 h 468"/>
              <a:gd name="T42" fmla="*/ 162887 w 485"/>
              <a:gd name="T43" fmla="*/ 23507 h 468"/>
              <a:gd name="T44" fmla="*/ 179306 w 485"/>
              <a:gd name="T45" fmla="*/ 37612 h 468"/>
              <a:gd name="T46" fmla="*/ 184058 w 485"/>
              <a:gd name="T47" fmla="*/ 51193 h 468"/>
              <a:gd name="T48" fmla="*/ 188379 w 485"/>
              <a:gd name="T49" fmla="*/ 71566 h 468"/>
              <a:gd name="T50" fmla="*/ 192268 w 485"/>
              <a:gd name="T51" fmla="*/ 90372 h 468"/>
              <a:gd name="T52" fmla="*/ 184922 w 485"/>
              <a:gd name="T53" fmla="*/ 93506 h 468"/>
              <a:gd name="T54" fmla="*/ 178009 w 485"/>
              <a:gd name="T55" fmla="*/ 96641 h 468"/>
              <a:gd name="T56" fmla="*/ 184058 w 485"/>
              <a:gd name="T57" fmla="*/ 103954 h 468"/>
              <a:gd name="T58" fmla="*/ 192268 w 485"/>
              <a:gd name="T59" fmla="*/ 106044 h 468"/>
              <a:gd name="T60" fmla="*/ 196588 w 485"/>
              <a:gd name="T61" fmla="*/ 136864 h 468"/>
              <a:gd name="T62" fmla="*/ 205229 w 485"/>
              <a:gd name="T63" fmla="*/ 162983 h 468"/>
              <a:gd name="T64" fmla="*/ 207390 w 485"/>
              <a:gd name="T65" fmla="*/ 199028 h 468"/>
              <a:gd name="T66" fmla="*/ 200045 w 485"/>
              <a:gd name="T67" fmla="*/ 190147 h 468"/>
              <a:gd name="T68" fmla="*/ 195724 w 485"/>
              <a:gd name="T69" fmla="*/ 185968 h 468"/>
              <a:gd name="T70" fmla="*/ 188379 w 485"/>
              <a:gd name="T71" fmla="*/ 189625 h 468"/>
              <a:gd name="T72" fmla="*/ 185355 w 485"/>
              <a:gd name="T73" fmla="*/ 208431 h 468"/>
              <a:gd name="T74" fmla="*/ 176281 w 485"/>
              <a:gd name="T75" fmla="*/ 203207 h 468"/>
              <a:gd name="T76" fmla="*/ 168072 w 485"/>
              <a:gd name="T77" fmla="*/ 199550 h 468"/>
              <a:gd name="T78" fmla="*/ 162455 w 485"/>
              <a:gd name="T79" fmla="*/ 209998 h 468"/>
              <a:gd name="T80" fmla="*/ 149061 w 485"/>
              <a:gd name="T81" fmla="*/ 215744 h 468"/>
              <a:gd name="T82" fmla="*/ 144309 w 485"/>
              <a:gd name="T83" fmla="*/ 208953 h 468"/>
              <a:gd name="T84" fmla="*/ 134803 w 485"/>
              <a:gd name="T85" fmla="*/ 206341 h 468"/>
              <a:gd name="T86" fmla="*/ 130915 w 485"/>
              <a:gd name="T87" fmla="*/ 222535 h 468"/>
              <a:gd name="T88" fmla="*/ 129186 w 485"/>
              <a:gd name="T89" fmla="*/ 235072 h 468"/>
              <a:gd name="T90" fmla="*/ 132643 w 485"/>
              <a:gd name="T91" fmla="*/ 243430 h 468"/>
              <a:gd name="T92" fmla="*/ 117521 w 485"/>
              <a:gd name="T93" fmla="*/ 244475 h 468"/>
              <a:gd name="T94" fmla="*/ 111472 w 485"/>
              <a:gd name="T95" fmla="*/ 242908 h 468"/>
              <a:gd name="T96" fmla="*/ 105423 w 485"/>
              <a:gd name="T97" fmla="*/ 229848 h 468"/>
              <a:gd name="T98" fmla="*/ 98942 w 485"/>
              <a:gd name="T99" fmla="*/ 218356 h 468"/>
              <a:gd name="T100" fmla="*/ 88141 w 485"/>
              <a:gd name="T101" fmla="*/ 212087 h 468"/>
              <a:gd name="T102" fmla="*/ 82092 w 485"/>
              <a:gd name="T103" fmla="*/ 205819 h 468"/>
              <a:gd name="T104" fmla="*/ 58760 w 485"/>
              <a:gd name="T105" fmla="*/ 217833 h 468"/>
              <a:gd name="T106" fmla="*/ 38886 w 485"/>
              <a:gd name="T107" fmla="*/ 227236 h 468"/>
              <a:gd name="T108" fmla="*/ 28084 w 485"/>
              <a:gd name="T109" fmla="*/ 239774 h 468"/>
              <a:gd name="T110" fmla="*/ 11666 w 485"/>
              <a:gd name="T111" fmla="*/ 240818 h 468"/>
              <a:gd name="T112" fmla="*/ 3024 w 485"/>
              <a:gd name="T113" fmla="*/ 228804 h 468"/>
              <a:gd name="T114" fmla="*/ 0 w 485"/>
              <a:gd name="T115" fmla="*/ 217833 h 468"/>
              <a:gd name="T116" fmla="*/ 3024 w 485"/>
              <a:gd name="T117" fmla="*/ 215744 h 468"/>
              <a:gd name="T118" fmla="*/ 11666 w 485"/>
              <a:gd name="T119" fmla="*/ 216266 h 468"/>
              <a:gd name="T120" fmla="*/ 20739 w 485"/>
              <a:gd name="T121" fmla="*/ 211565 h 468"/>
              <a:gd name="T122" fmla="*/ 31108 w 485"/>
              <a:gd name="T123" fmla="*/ 192759 h 468"/>
              <a:gd name="T124" fmla="*/ 40182 w 485"/>
              <a:gd name="T125" fmla="*/ 183879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3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4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5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6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38386 w 100"/>
              <a:gd name="T1" fmla="*/ 0 h 42"/>
              <a:gd name="T2" fmla="*/ 40037 w 100"/>
              <a:gd name="T3" fmla="*/ 9525 h 42"/>
              <a:gd name="T4" fmla="*/ 41275 w 100"/>
              <a:gd name="T5" fmla="*/ 24493 h 42"/>
              <a:gd name="T6" fmla="*/ 37973 w 100"/>
              <a:gd name="T7" fmla="*/ 32657 h 42"/>
              <a:gd name="T8" fmla="*/ 35497 w 100"/>
              <a:gd name="T9" fmla="*/ 39461 h 42"/>
              <a:gd name="T10" fmla="*/ 32607 w 100"/>
              <a:gd name="T11" fmla="*/ 46264 h 42"/>
              <a:gd name="T12" fmla="*/ 29718 w 100"/>
              <a:gd name="T13" fmla="*/ 50346 h 42"/>
              <a:gd name="T14" fmla="*/ 26829 w 100"/>
              <a:gd name="T15" fmla="*/ 53068 h 42"/>
              <a:gd name="T16" fmla="*/ 23527 w 100"/>
              <a:gd name="T17" fmla="*/ 55789 h 42"/>
              <a:gd name="T18" fmla="*/ 20225 w 100"/>
              <a:gd name="T19" fmla="*/ 57150 h 42"/>
              <a:gd name="T20" fmla="*/ 16510 w 100"/>
              <a:gd name="T21" fmla="*/ 57150 h 42"/>
              <a:gd name="T22" fmla="*/ 11144 w 100"/>
              <a:gd name="T23" fmla="*/ 55789 h 42"/>
              <a:gd name="T24" fmla="*/ 4953 w 100"/>
              <a:gd name="T25" fmla="*/ 53068 h 42"/>
              <a:gd name="T26" fmla="*/ 413 w 100"/>
              <a:gd name="T27" fmla="*/ 50346 h 42"/>
              <a:gd name="T28" fmla="*/ 0 w 100"/>
              <a:gd name="T29" fmla="*/ 48986 h 42"/>
              <a:gd name="T30" fmla="*/ 2477 w 100"/>
              <a:gd name="T31" fmla="*/ 48986 h 42"/>
              <a:gd name="T32" fmla="*/ 4953 w 100"/>
              <a:gd name="T33" fmla="*/ 47625 h 42"/>
              <a:gd name="T34" fmla="*/ 7430 w 100"/>
              <a:gd name="T35" fmla="*/ 44904 h 42"/>
              <a:gd name="T36" fmla="*/ 9493 w 100"/>
              <a:gd name="T37" fmla="*/ 40821 h 42"/>
              <a:gd name="T38" fmla="*/ 13621 w 100"/>
              <a:gd name="T39" fmla="*/ 34018 h 42"/>
              <a:gd name="T40" fmla="*/ 18161 w 100"/>
              <a:gd name="T41" fmla="*/ 24493 h 42"/>
              <a:gd name="T42" fmla="*/ 22701 w 100"/>
              <a:gd name="T43" fmla="*/ 14968 h 42"/>
              <a:gd name="T44" fmla="*/ 27242 w 100"/>
              <a:gd name="T45" fmla="*/ 6804 h 42"/>
              <a:gd name="T46" fmla="*/ 29718 w 100"/>
              <a:gd name="T47" fmla="*/ 4082 h 42"/>
              <a:gd name="T48" fmla="*/ 32607 w 100"/>
              <a:gd name="T49" fmla="*/ 1361 h 42"/>
              <a:gd name="T50" fmla="*/ 35497 w 100"/>
              <a:gd name="T51" fmla="*/ 0 h 42"/>
              <a:gd name="T52" fmla="*/ 38386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7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15875 w 40"/>
              <a:gd name="T1" fmla="*/ 58738 h 5"/>
              <a:gd name="T2" fmla="*/ 0 w 40"/>
              <a:gd name="T3" fmla="*/ 58738 h 5"/>
              <a:gd name="T4" fmla="*/ 1984 w 40"/>
              <a:gd name="T5" fmla="*/ 35243 h 5"/>
              <a:gd name="T6" fmla="*/ 3572 w 40"/>
              <a:gd name="T7" fmla="*/ 11748 h 5"/>
              <a:gd name="T8" fmla="*/ 5953 w 40"/>
              <a:gd name="T9" fmla="*/ 0 h 5"/>
              <a:gd name="T10" fmla="*/ 7938 w 40"/>
              <a:gd name="T11" fmla="*/ 0 h 5"/>
              <a:gd name="T12" fmla="*/ 9922 w 40"/>
              <a:gd name="T13" fmla="*/ 0 h 5"/>
              <a:gd name="T14" fmla="*/ 11906 w 40"/>
              <a:gd name="T15" fmla="*/ 11748 h 5"/>
              <a:gd name="T16" fmla="*/ 13891 w 40"/>
              <a:gd name="T17" fmla="*/ 35243 h 5"/>
              <a:gd name="T18" fmla="*/ 15875 w 40"/>
              <a:gd name="T19" fmla="*/ 58738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8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36973 h 31"/>
              <a:gd name="T2" fmla="*/ 8659 w 33"/>
              <a:gd name="T3" fmla="*/ 0 h 31"/>
              <a:gd name="T4" fmla="*/ 8659 w 33"/>
              <a:gd name="T5" fmla="*/ 7784 h 31"/>
              <a:gd name="T6" fmla="*/ 9525 w 33"/>
              <a:gd name="T7" fmla="*/ 19460 h 31"/>
              <a:gd name="T8" fmla="*/ 10823 w 33"/>
              <a:gd name="T9" fmla="*/ 27244 h 31"/>
              <a:gd name="T10" fmla="*/ 11689 w 33"/>
              <a:gd name="T11" fmla="*/ 35027 h 31"/>
              <a:gd name="T12" fmla="*/ 13421 w 33"/>
              <a:gd name="T13" fmla="*/ 50595 h 31"/>
              <a:gd name="T14" fmla="*/ 14287 w 33"/>
              <a:gd name="T15" fmla="*/ 60325 h 31"/>
              <a:gd name="T16" fmla="*/ 0 w 33"/>
              <a:gd name="T17" fmla="*/ 60325 h 31"/>
              <a:gd name="T18" fmla="*/ 0 w 33"/>
              <a:gd name="T19" fmla="*/ 48649 h 31"/>
              <a:gd name="T20" fmla="*/ 0 w 33"/>
              <a:gd name="T21" fmla="*/ 36973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9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17463 w 41"/>
              <a:gd name="T1" fmla="*/ 0 h 43"/>
              <a:gd name="T2" fmla="*/ 17463 w 41"/>
              <a:gd name="T3" fmla="*/ 57150 h 43"/>
              <a:gd name="T4" fmla="*/ 13204 w 41"/>
              <a:gd name="T5" fmla="*/ 55821 h 43"/>
              <a:gd name="T6" fmla="*/ 10222 w 41"/>
              <a:gd name="T7" fmla="*/ 53163 h 43"/>
              <a:gd name="T8" fmla="*/ 7667 w 41"/>
              <a:gd name="T9" fmla="*/ 49176 h 43"/>
              <a:gd name="T10" fmla="*/ 5537 w 41"/>
              <a:gd name="T11" fmla="*/ 43859 h 43"/>
              <a:gd name="T12" fmla="*/ 2130 w 41"/>
              <a:gd name="T13" fmla="*/ 33227 h 43"/>
              <a:gd name="T14" fmla="*/ 0 w 41"/>
              <a:gd name="T15" fmla="*/ 25252 h 43"/>
              <a:gd name="T16" fmla="*/ 5111 w 41"/>
              <a:gd name="T17" fmla="*/ 17278 h 43"/>
              <a:gd name="T18" fmla="*/ 10648 w 41"/>
              <a:gd name="T19" fmla="*/ 9303 h 43"/>
              <a:gd name="T20" fmla="*/ 15333 w 41"/>
              <a:gd name="T21" fmla="*/ 2658 h 43"/>
              <a:gd name="T22" fmla="*/ 17463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0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26824 w 213"/>
              <a:gd name="T1" fmla="*/ 0 h 62"/>
              <a:gd name="T2" fmla="*/ 36498 w 213"/>
              <a:gd name="T3" fmla="*/ 0 h 62"/>
              <a:gd name="T4" fmla="*/ 46172 w 213"/>
              <a:gd name="T5" fmla="*/ 973 h 62"/>
              <a:gd name="T6" fmla="*/ 55846 w 213"/>
              <a:gd name="T7" fmla="*/ 2919 h 62"/>
              <a:gd name="T8" fmla="*/ 64201 w 213"/>
              <a:gd name="T9" fmla="*/ 6811 h 62"/>
              <a:gd name="T10" fmla="*/ 72996 w 213"/>
              <a:gd name="T11" fmla="*/ 10703 h 62"/>
              <a:gd name="T12" fmla="*/ 80911 w 213"/>
              <a:gd name="T13" fmla="*/ 15568 h 62"/>
              <a:gd name="T14" fmla="*/ 83989 w 213"/>
              <a:gd name="T15" fmla="*/ 18487 h 62"/>
              <a:gd name="T16" fmla="*/ 87507 w 213"/>
              <a:gd name="T17" fmla="*/ 22379 h 62"/>
              <a:gd name="T18" fmla="*/ 91025 w 213"/>
              <a:gd name="T19" fmla="*/ 26271 h 62"/>
              <a:gd name="T20" fmla="*/ 93663 w 213"/>
              <a:gd name="T21" fmla="*/ 30163 h 62"/>
              <a:gd name="T22" fmla="*/ 92784 w 213"/>
              <a:gd name="T23" fmla="*/ 34054 h 62"/>
              <a:gd name="T24" fmla="*/ 91025 w 213"/>
              <a:gd name="T25" fmla="*/ 36973 h 62"/>
              <a:gd name="T26" fmla="*/ 88386 w 213"/>
              <a:gd name="T27" fmla="*/ 39892 h 62"/>
              <a:gd name="T28" fmla="*/ 85748 w 213"/>
              <a:gd name="T29" fmla="*/ 42811 h 62"/>
              <a:gd name="T30" fmla="*/ 77833 w 213"/>
              <a:gd name="T31" fmla="*/ 47676 h 62"/>
              <a:gd name="T32" fmla="*/ 68598 w 213"/>
              <a:gd name="T33" fmla="*/ 51568 h 62"/>
              <a:gd name="T34" fmla="*/ 59364 w 213"/>
              <a:gd name="T35" fmla="*/ 55460 h 62"/>
              <a:gd name="T36" fmla="*/ 50129 w 213"/>
              <a:gd name="T37" fmla="*/ 57406 h 62"/>
              <a:gd name="T38" fmla="*/ 41775 w 213"/>
              <a:gd name="T39" fmla="*/ 60325 h 62"/>
              <a:gd name="T40" fmla="*/ 35179 w 213"/>
              <a:gd name="T41" fmla="*/ 60325 h 62"/>
              <a:gd name="T42" fmla="*/ 27263 w 213"/>
              <a:gd name="T43" fmla="*/ 60325 h 62"/>
              <a:gd name="T44" fmla="*/ 18908 w 213"/>
              <a:gd name="T45" fmla="*/ 57406 h 62"/>
              <a:gd name="T46" fmla="*/ 14511 w 213"/>
              <a:gd name="T47" fmla="*/ 57406 h 62"/>
              <a:gd name="T48" fmla="*/ 10114 w 213"/>
              <a:gd name="T49" fmla="*/ 57406 h 62"/>
              <a:gd name="T50" fmla="*/ 5277 w 213"/>
              <a:gd name="T51" fmla="*/ 58379 h 62"/>
              <a:gd name="T52" fmla="*/ 0 w 213"/>
              <a:gd name="T53" fmla="*/ 60325 h 62"/>
              <a:gd name="T54" fmla="*/ 2638 w 213"/>
              <a:gd name="T55" fmla="*/ 48649 h 62"/>
              <a:gd name="T56" fmla="*/ 4837 w 213"/>
              <a:gd name="T57" fmla="*/ 37946 h 62"/>
              <a:gd name="T58" fmla="*/ 7475 w 213"/>
              <a:gd name="T59" fmla="*/ 28217 h 62"/>
              <a:gd name="T60" fmla="*/ 10114 w 213"/>
              <a:gd name="T61" fmla="*/ 19460 h 62"/>
              <a:gd name="T62" fmla="*/ 11873 w 213"/>
              <a:gd name="T63" fmla="*/ 15568 h 62"/>
              <a:gd name="T64" fmla="*/ 13192 w 213"/>
              <a:gd name="T65" fmla="*/ 11676 h 62"/>
              <a:gd name="T66" fmla="*/ 14951 w 213"/>
              <a:gd name="T67" fmla="*/ 8757 h 62"/>
              <a:gd name="T68" fmla="*/ 17150 w 213"/>
              <a:gd name="T69" fmla="*/ 5838 h 62"/>
              <a:gd name="T70" fmla="*/ 18908 w 213"/>
              <a:gd name="T71" fmla="*/ 2919 h 62"/>
              <a:gd name="T72" fmla="*/ 21547 w 213"/>
              <a:gd name="T73" fmla="*/ 973 h 62"/>
              <a:gd name="T74" fmla="*/ 23746 w 213"/>
              <a:gd name="T75" fmla="*/ 0 h 62"/>
              <a:gd name="T76" fmla="*/ 26824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1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17702 w 239"/>
              <a:gd name="T1" fmla="*/ 0 h 56"/>
              <a:gd name="T2" fmla="*/ 12952 w 239"/>
              <a:gd name="T3" fmla="*/ 3232 h 56"/>
              <a:gd name="T4" fmla="*/ 9930 w 239"/>
              <a:gd name="T5" fmla="*/ 5386 h 56"/>
              <a:gd name="T6" fmla="*/ 8203 w 239"/>
              <a:gd name="T7" fmla="*/ 7541 h 56"/>
              <a:gd name="T8" fmla="*/ 6476 w 239"/>
              <a:gd name="T9" fmla="*/ 9695 h 56"/>
              <a:gd name="T10" fmla="*/ 5613 w 239"/>
              <a:gd name="T11" fmla="*/ 14004 h 56"/>
              <a:gd name="T12" fmla="*/ 4317 w 239"/>
              <a:gd name="T13" fmla="*/ 16158 h 56"/>
              <a:gd name="T14" fmla="*/ 3022 w 239"/>
              <a:gd name="T15" fmla="*/ 18313 h 56"/>
              <a:gd name="T16" fmla="*/ 0 w 239"/>
              <a:gd name="T17" fmla="*/ 20467 h 56"/>
              <a:gd name="T18" fmla="*/ 863 w 239"/>
              <a:gd name="T19" fmla="*/ 25854 h 56"/>
              <a:gd name="T20" fmla="*/ 2159 w 239"/>
              <a:gd name="T21" fmla="*/ 29085 h 56"/>
              <a:gd name="T22" fmla="*/ 3022 w 239"/>
              <a:gd name="T23" fmla="*/ 32317 h 56"/>
              <a:gd name="T24" fmla="*/ 4317 w 239"/>
              <a:gd name="T25" fmla="*/ 35549 h 56"/>
              <a:gd name="T26" fmla="*/ 7340 w 239"/>
              <a:gd name="T27" fmla="*/ 38780 h 56"/>
              <a:gd name="T28" fmla="*/ 10362 w 239"/>
              <a:gd name="T29" fmla="*/ 40935 h 56"/>
              <a:gd name="T30" fmla="*/ 17702 w 239"/>
              <a:gd name="T31" fmla="*/ 40935 h 56"/>
              <a:gd name="T32" fmla="*/ 23314 w 239"/>
              <a:gd name="T33" fmla="*/ 40935 h 56"/>
              <a:gd name="T34" fmla="*/ 66058 w 239"/>
              <a:gd name="T35" fmla="*/ 40935 h 56"/>
              <a:gd name="T36" fmla="*/ 66921 w 239"/>
              <a:gd name="T37" fmla="*/ 44167 h 56"/>
              <a:gd name="T38" fmla="*/ 67353 w 239"/>
              <a:gd name="T39" fmla="*/ 47398 h 56"/>
              <a:gd name="T40" fmla="*/ 68648 w 239"/>
              <a:gd name="T41" fmla="*/ 49553 h 56"/>
              <a:gd name="T42" fmla="*/ 69943 w 239"/>
              <a:gd name="T43" fmla="*/ 51707 h 56"/>
              <a:gd name="T44" fmla="*/ 72102 w 239"/>
              <a:gd name="T45" fmla="*/ 54939 h 56"/>
              <a:gd name="T46" fmla="*/ 75124 w 239"/>
              <a:gd name="T47" fmla="*/ 58171 h 56"/>
              <a:gd name="T48" fmla="*/ 81169 w 239"/>
              <a:gd name="T49" fmla="*/ 60325 h 56"/>
              <a:gd name="T50" fmla="*/ 86350 w 239"/>
              <a:gd name="T51" fmla="*/ 60325 h 56"/>
              <a:gd name="T52" fmla="*/ 88077 w 239"/>
              <a:gd name="T53" fmla="*/ 59248 h 56"/>
              <a:gd name="T54" fmla="*/ 90667 w 239"/>
              <a:gd name="T55" fmla="*/ 58171 h 56"/>
              <a:gd name="T56" fmla="*/ 92394 w 239"/>
              <a:gd name="T57" fmla="*/ 56016 h 56"/>
              <a:gd name="T58" fmla="*/ 94985 w 239"/>
              <a:gd name="T59" fmla="*/ 52784 h 56"/>
              <a:gd name="T60" fmla="*/ 99302 w 239"/>
              <a:gd name="T61" fmla="*/ 46321 h 56"/>
              <a:gd name="T62" fmla="*/ 103188 w 239"/>
              <a:gd name="T63" fmla="*/ 40935 h 56"/>
              <a:gd name="T64" fmla="*/ 100166 w 239"/>
              <a:gd name="T65" fmla="*/ 39858 h 56"/>
              <a:gd name="T66" fmla="*/ 97144 w 239"/>
              <a:gd name="T67" fmla="*/ 38780 h 56"/>
              <a:gd name="T68" fmla="*/ 94553 w 239"/>
              <a:gd name="T69" fmla="*/ 36626 h 56"/>
              <a:gd name="T70" fmla="*/ 91963 w 239"/>
              <a:gd name="T71" fmla="*/ 34471 h 56"/>
              <a:gd name="T72" fmla="*/ 86782 w 239"/>
              <a:gd name="T73" fmla="*/ 28008 h 56"/>
              <a:gd name="T74" fmla="*/ 82032 w 239"/>
              <a:gd name="T75" fmla="*/ 20467 h 56"/>
              <a:gd name="T76" fmla="*/ 76851 w 239"/>
              <a:gd name="T77" fmla="*/ 14004 h 56"/>
              <a:gd name="T78" fmla="*/ 72102 w 239"/>
              <a:gd name="T79" fmla="*/ 6463 h 56"/>
              <a:gd name="T80" fmla="*/ 69080 w 239"/>
              <a:gd name="T81" fmla="*/ 4309 h 56"/>
              <a:gd name="T82" fmla="*/ 66489 w 239"/>
              <a:gd name="T83" fmla="*/ 2154 h 56"/>
              <a:gd name="T84" fmla="*/ 63467 w 239"/>
              <a:gd name="T85" fmla="*/ 1077 h 56"/>
              <a:gd name="T86" fmla="*/ 60445 w 239"/>
              <a:gd name="T87" fmla="*/ 0 h 56"/>
              <a:gd name="T88" fmla="*/ 57854 w 239"/>
              <a:gd name="T89" fmla="*/ 1077 h 56"/>
              <a:gd name="T90" fmla="*/ 54832 w 239"/>
              <a:gd name="T91" fmla="*/ 4309 h 56"/>
              <a:gd name="T92" fmla="*/ 53537 w 239"/>
              <a:gd name="T93" fmla="*/ 6463 h 56"/>
              <a:gd name="T94" fmla="*/ 52673 w 239"/>
              <a:gd name="T95" fmla="*/ 8618 h 56"/>
              <a:gd name="T96" fmla="*/ 52242 w 239"/>
              <a:gd name="T97" fmla="*/ 10772 h 56"/>
              <a:gd name="T98" fmla="*/ 51810 w 239"/>
              <a:gd name="T99" fmla="*/ 14004 h 56"/>
              <a:gd name="T100" fmla="*/ 43175 w 239"/>
              <a:gd name="T101" fmla="*/ 8618 h 56"/>
              <a:gd name="T102" fmla="*/ 34540 w 239"/>
              <a:gd name="T103" fmla="*/ 4309 h 56"/>
              <a:gd name="T104" fmla="*/ 26337 w 239"/>
              <a:gd name="T105" fmla="*/ 1077 h 56"/>
              <a:gd name="T106" fmla="*/ 17702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2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6180 w 187"/>
              <a:gd name="T1" fmla="*/ 13573 h 80"/>
              <a:gd name="T2" fmla="*/ 18099 w 187"/>
              <a:gd name="T3" fmla="*/ 0 h 80"/>
              <a:gd name="T4" fmla="*/ 19424 w 187"/>
              <a:gd name="T5" fmla="*/ 2143 h 80"/>
              <a:gd name="T6" fmla="*/ 22072 w 187"/>
              <a:gd name="T7" fmla="*/ 4286 h 80"/>
              <a:gd name="T8" fmla="*/ 25604 w 187"/>
              <a:gd name="T9" fmla="*/ 6429 h 80"/>
              <a:gd name="T10" fmla="*/ 29577 w 187"/>
              <a:gd name="T11" fmla="*/ 8573 h 80"/>
              <a:gd name="T12" fmla="*/ 39289 w 187"/>
              <a:gd name="T13" fmla="*/ 13573 h 80"/>
              <a:gd name="T14" fmla="*/ 50325 w 187"/>
              <a:gd name="T15" fmla="*/ 18574 h 80"/>
              <a:gd name="T16" fmla="*/ 61361 w 187"/>
              <a:gd name="T17" fmla="*/ 23574 h 80"/>
              <a:gd name="T18" fmla="*/ 71072 w 187"/>
              <a:gd name="T19" fmla="*/ 27146 h 80"/>
              <a:gd name="T20" fmla="*/ 78136 w 187"/>
              <a:gd name="T21" fmla="*/ 30004 h 80"/>
              <a:gd name="T22" fmla="*/ 82550 w 187"/>
              <a:gd name="T23" fmla="*/ 30718 h 80"/>
              <a:gd name="T24" fmla="*/ 82550 w 187"/>
              <a:gd name="T25" fmla="*/ 40005 h 80"/>
              <a:gd name="T26" fmla="*/ 82550 w 187"/>
              <a:gd name="T27" fmla="*/ 48578 h 80"/>
              <a:gd name="T28" fmla="*/ 75045 w 187"/>
              <a:gd name="T29" fmla="*/ 50006 h 80"/>
              <a:gd name="T30" fmla="*/ 66658 w 187"/>
              <a:gd name="T31" fmla="*/ 50721 h 80"/>
              <a:gd name="T32" fmla="*/ 58712 w 187"/>
              <a:gd name="T33" fmla="*/ 50721 h 80"/>
              <a:gd name="T34" fmla="*/ 51207 w 187"/>
              <a:gd name="T35" fmla="*/ 50006 h 80"/>
              <a:gd name="T36" fmla="*/ 37523 w 187"/>
              <a:gd name="T37" fmla="*/ 49292 h 80"/>
              <a:gd name="T38" fmla="*/ 26928 w 187"/>
              <a:gd name="T39" fmla="*/ 48578 h 80"/>
              <a:gd name="T40" fmla="*/ 24279 w 187"/>
              <a:gd name="T41" fmla="*/ 49292 h 80"/>
              <a:gd name="T42" fmla="*/ 22514 w 187"/>
              <a:gd name="T43" fmla="*/ 50006 h 80"/>
              <a:gd name="T44" fmla="*/ 19865 w 187"/>
              <a:gd name="T45" fmla="*/ 51435 h 80"/>
              <a:gd name="T46" fmla="*/ 18099 w 187"/>
              <a:gd name="T47" fmla="*/ 52864 h 80"/>
              <a:gd name="T48" fmla="*/ 14568 w 187"/>
              <a:gd name="T49" fmla="*/ 55721 h 80"/>
              <a:gd name="T50" fmla="*/ 12360 w 187"/>
              <a:gd name="T51" fmla="*/ 57150 h 80"/>
              <a:gd name="T52" fmla="*/ 9712 w 187"/>
              <a:gd name="T53" fmla="*/ 56436 h 80"/>
              <a:gd name="T54" fmla="*/ 7946 w 187"/>
              <a:gd name="T55" fmla="*/ 54293 h 80"/>
              <a:gd name="T56" fmla="*/ 6180 w 187"/>
              <a:gd name="T57" fmla="*/ 51435 h 80"/>
              <a:gd name="T58" fmla="*/ 3973 w 187"/>
              <a:gd name="T59" fmla="*/ 47863 h 80"/>
              <a:gd name="T60" fmla="*/ 2649 w 187"/>
              <a:gd name="T61" fmla="*/ 44291 h 80"/>
              <a:gd name="T62" fmla="*/ 1324 w 187"/>
              <a:gd name="T63" fmla="*/ 40719 h 80"/>
              <a:gd name="T64" fmla="*/ 883 w 187"/>
              <a:gd name="T65" fmla="*/ 37862 h 80"/>
              <a:gd name="T66" fmla="*/ 0 w 187"/>
              <a:gd name="T67" fmla="*/ 35719 h 80"/>
              <a:gd name="T68" fmla="*/ 883 w 187"/>
              <a:gd name="T69" fmla="*/ 31433 h 80"/>
              <a:gd name="T70" fmla="*/ 1324 w 187"/>
              <a:gd name="T71" fmla="*/ 28575 h 80"/>
              <a:gd name="T72" fmla="*/ 2207 w 187"/>
              <a:gd name="T73" fmla="*/ 25718 h 80"/>
              <a:gd name="T74" fmla="*/ 3090 w 187"/>
              <a:gd name="T75" fmla="*/ 22146 h 80"/>
              <a:gd name="T76" fmla="*/ 5739 w 187"/>
              <a:gd name="T77" fmla="*/ 17145 h 80"/>
              <a:gd name="T78" fmla="*/ 6180 w 187"/>
              <a:gd name="T79" fmla="*/ 13573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3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21687 w 183"/>
              <a:gd name="T1" fmla="*/ 0 h 73"/>
              <a:gd name="T2" fmla="*/ 27326 w 183"/>
              <a:gd name="T3" fmla="*/ 0 h 73"/>
              <a:gd name="T4" fmla="*/ 32531 w 183"/>
              <a:gd name="T5" fmla="*/ 805 h 73"/>
              <a:gd name="T6" fmla="*/ 37302 w 183"/>
              <a:gd name="T7" fmla="*/ 3219 h 73"/>
              <a:gd name="T8" fmla="*/ 42073 w 183"/>
              <a:gd name="T9" fmla="*/ 5632 h 73"/>
              <a:gd name="T10" fmla="*/ 45977 w 183"/>
              <a:gd name="T11" fmla="*/ 8046 h 73"/>
              <a:gd name="T12" fmla="*/ 50314 w 183"/>
              <a:gd name="T13" fmla="*/ 12069 h 73"/>
              <a:gd name="T14" fmla="*/ 53784 w 183"/>
              <a:gd name="T15" fmla="*/ 15288 h 73"/>
              <a:gd name="T16" fmla="*/ 56820 w 183"/>
              <a:gd name="T17" fmla="*/ 20116 h 73"/>
              <a:gd name="T18" fmla="*/ 68965 w 183"/>
              <a:gd name="T19" fmla="*/ 39427 h 73"/>
              <a:gd name="T20" fmla="*/ 79375 w 183"/>
              <a:gd name="T21" fmla="*/ 58738 h 73"/>
              <a:gd name="T22" fmla="*/ 59423 w 183"/>
              <a:gd name="T23" fmla="*/ 58738 h 73"/>
              <a:gd name="T24" fmla="*/ 55519 w 183"/>
              <a:gd name="T25" fmla="*/ 57933 h 73"/>
              <a:gd name="T26" fmla="*/ 50748 w 183"/>
              <a:gd name="T27" fmla="*/ 56324 h 73"/>
              <a:gd name="T28" fmla="*/ 45109 w 183"/>
              <a:gd name="T29" fmla="*/ 53106 h 73"/>
              <a:gd name="T30" fmla="*/ 39037 w 183"/>
              <a:gd name="T31" fmla="*/ 49887 h 73"/>
              <a:gd name="T32" fmla="*/ 31663 w 183"/>
              <a:gd name="T33" fmla="*/ 45059 h 73"/>
              <a:gd name="T34" fmla="*/ 25157 w 183"/>
              <a:gd name="T35" fmla="*/ 40232 h 73"/>
              <a:gd name="T36" fmla="*/ 18217 w 183"/>
              <a:gd name="T37" fmla="*/ 35404 h 73"/>
              <a:gd name="T38" fmla="*/ 12145 w 183"/>
              <a:gd name="T39" fmla="*/ 29771 h 73"/>
              <a:gd name="T40" fmla="*/ 6940 w 183"/>
              <a:gd name="T41" fmla="*/ 24139 h 73"/>
              <a:gd name="T42" fmla="*/ 3036 w 183"/>
              <a:gd name="T43" fmla="*/ 18506 h 73"/>
              <a:gd name="T44" fmla="*/ 1735 w 183"/>
              <a:gd name="T45" fmla="*/ 15288 h 73"/>
              <a:gd name="T46" fmla="*/ 867 w 183"/>
              <a:gd name="T47" fmla="*/ 12874 h 73"/>
              <a:gd name="T48" fmla="*/ 434 w 183"/>
              <a:gd name="T49" fmla="*/ 11265 h 73"/>
              <a:gd name="T50" fmla="*/ 0 w 183"/>
              <a:gd name="T51" fmla="*/ 8851 h 73"/>
              <a:gd name="T52" fmla="*/ 434 w 183"/>
              <a:gd name="T53" fmla="*/ 6437 h 73"/>
              <a:gd name="T54" fmla="*/ 1301 w 183"/>
              <a:gd name="T55" fmla="*/ 4828 h 73"/>
              <a:gd name="T56" fmla="*/ 3036 w 183"/>
              <a:gd name="T57" fmla="*/ 3219 h 73"/>
              <a:gd name="T58" fmla="*/ 5639 w 183"/>
              <a:gd name="T59" fmla="*/ 2414 h 73"/>
              <a:gd name="T60" fmla="*/ 8241 w 183"/>
              <a:gd name="T61" fmla="*/ 805 h 73"/>
              <a:gd name="T62" fmla="*/ 12145 w 183"/>
              <a:gd name="T63" fmla="*/ 0 h 73"/>
              <a:gd name="T64" fmla="*/ 16482 w 183"/>
              <a:gd name="T65" fmla="*/ 0 h 73"/>
              <a:gd name="T66" fmla="*/ 2168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4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8164 h 42"/>
              <a:gd name="T2" fmla="*/ 9706 w 79"/>
              <a:gd name="T3" fmla="*/ 2721 h 42"/>
              <a:gd name="T4" fmla="*/ 17302 w 79"/>
              <a:gd name="T5" fmla="*/ 1361 h 42"/>
              <a:gd name="T6" fmla="*/ 25320 w 79"/>
              <a:gd name="T7" fmla="*/ 0 h 42"/>
              <a:gd name="T8" fmla="*/ 33338 w 79"/>
              <a:gd name="T9" fmla="*/ 0 h 42"/>
              <a:gd name="T10" fmla="*/ 33338 w 79"/>
              <a:gd name="T11" fmla="*/ 12246 h 42"/>
              <a:gd name="T12" fmla="*/ 33338 w 79"/>
              <a:gd name="T13" fmla="*/ 24493 h 42"/>
              <a:gd name="T14" fmla="*/ 33338 w 79"/>
              <a:gd name="T15" fmla="*/ 29936 h 42"/>
              <a:gd name="T16" fmla="*/ 31650 w 79"/>
              <a:gd name="T17" fmla="*/ 36739 h 42"/>
              <a:gd name="T18" fmla="*/ 30384 w 79"/>
              <a:gd name="T19" fmla="*/ 42182 h 42"/>
              <a:gd name="T20" fmla="*/ 28696 w 79"/>
              <a:gd name="T21" fmla="*/ 47625 h 42"/>
              <a:gd name="T22" fmla="*/ 26164 w 79"/>
              <a:gd name="T23" fmla="*/ 51707 h 42"/>
              <a:gd name="T24" fmla="*/ 24054 w 79"/>
              <a:gd name="T25" fmla="*/ 54429 h 42"/>
              <a:gd name="T26" fmla="*/ 21522 w 79"/>
              <a:gd name="T27" fmla="*/ 57150 h 42"/>
              <a:gd name="T28" fmla="*/ 19412 w 79"/>
              <a:gd name="T29" fmla="*/ 57150 h 42"/>
              <a:gd name="T30" fmla="*/ 16880 w 79"/>
              <a:gd name="T31" fmla="*/ 57150 h 42"/>
              <a:gd name="T32" fmla="*/ 14770 w 79"/>
              <a:gd name="T33" fmla="*/ 55789 h 42"/>
              <a:gd name="T34" fmla="*/ 12238 w 79"/>
              <a:gd name="T35" fmla="*/ 53068 h 42"/>
              <a:gd name="T36" fmla="*/ 10550 w 79"/>
              <a:gd name="T37" fmla="*/ 50346 h 42"/>
              <a:gd name="T38" fmla="*/ 6752 w 79"/>
              <a:gd name="T39" fmla="*/ 43543 h 42"/>
              <a:gd name="T40" fmla="*/ 4642 w 79"/>
              <a:gd name="T41" fmla="*/ 35379 h 42"/>
              <a:gd name="T42" fmla="*/ 2110 w 79"/>
              <a:gd name="T43" fmla="*/ 27214 h 42"/>
              <a:gd name="T44" fmla="*/ 844 w 79"/>
              <a:gd name="T45" fmla="*/ 19050 h 42"/>
              <a:gd name="T46" fmla="*/ 0 w 79"/>
              <a:gd name="T47" fmla="*/ 12246 h 42"/>
              <a:gd name="T48" fmla="*/ 0 w 79"/>
              <a:gd name="T49" fmla="*/ 8164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5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52387 w 113"/>
              <a:gd name="T1" fmla="*/ 44054 h 52"/>
              <a:gd name="T2" fmla="*/ 51923 w 113"/>
              <a:gd name="T3" fmla="*/ 47442 h 52"/>
              <a:gd name="T4" fmla="*/ 50533 w 113"/>
              <a:gd name="T5" fmla="*/ 50831 h 52"/>
              <a:gd name="T6" fmla="*/ 49142 w 113"/>
              <a:gd name="T7" fmla="*/ 53090 h 52"/>
              <a:gd name="T8" fmla="*/ 47751 w 113"/>
              <a:gd name="T9" fmla="*/ 55349 h 52"/>
              <a:gd name="T10" fmla="*/ 43579 w 113"/>
              <a:gd name="T11" fmla="*/ 57608 h 52"/>
              <a:gd name="T12" fmla="*/ 39406 w 113"/>
              <a:gd name="T13" fmla="*/ 58738 h 52"/>
              <a:gd name="T14" fmla="*/ 30598 w 113"/>
              <a:gd name="T15" fmla="*/ 58738 h 52"/>
              <a:gd name="T16" fmla="*/ 24571 w 113"/>
              <a:gd name="T17" fmla="*/ 57608 h 52"/>
              <a:gd name="T18" fmla="*/ 21789 w 113"/>
              <a:gd name="T19" fmla="*/ 57608 h 52"/>
              <a:gd name="T20" fmla="*/ 18080 w 113"/>
              <a:gd name="T21" fmla="*/ 54220 h 52"/>
              <a:gd name="T22" fmla="*/ 13908 w 113"/>
              <a:gd name="T23" fmla="*/ 50831 h 52"/>
              <a:gd name="T24" fmla="*/ 9736 w 113"/>
              <a:gd name="T25" fmla="*/ 46313 h 52"/>
              <a:gd name="T26" fmla="*/ 6027 w 113"/>
              <a:gd name="T27" fmla="*/ 40665 h 52"/>
              <a:gd name="T28" fmla="*/ 2782 w 113"/>
              <a:gd name="T29" fmla="*/ 35017 h 52"/>
              <a:gd name="T30" fmla="*/ 1854 w 113"/>
              <a:gd name="T31" fmla="*/ 31628 h 52"/>
              <a:gd name="T32" fmla="*/ 927 w 113"/>
              <a:gd name="T33" fmla="*/ 28239 h 52"/>
              <a:gd name="T34" fmla="*/ 464 w 113"/>
              <a:gd name="T35" fmla="*/ 24851 h 52"/>
              <a:gd name="T36" fmla="*/ 0 w 113"/>
              <a:gd name="T37" fmla="*/ 22592 h 52"/>
              <a:gd name="T38" fmla="*/ 464 w 113"/>
              <a:gd name="T39" fmla="*/ 16944 h 52"/>
              <a:gd name="T40" fmla="*/ 464 w 113"/>
              <a:gd name="T41" fmla="*/ 12425 h 52"/>
              <a:gd name="T42" fmla="*/ 1391 w 113"/>
              <a:gd name="T43" fmla="*/ 9037 h 52"/>
              <a:gd name="T44" fmla="*/ 2318 w 113"/>
              <a:gd name="T45" fmla="*/ 5648 h 52"/>
              <a:gd name="T46" fmla="*/ 3245 w 113"/>
              <a:gd name="T47" fmla="*/ 3389 h 52"/>
              <a:gd name="T48" fmla="*/ 4636 w 113"/>
              <a:gd name="T49" fmla="*/ 2259 h 52"/>
              <a:gd name="T50" fmla="*/ 6490 w 113"/>
              <a:gd name="T51" fmla="*/ 1130 h 52"/>
              <a:gd name="T52" fmla="*/ 7881 w 113"/>
              <a:gd name="T53" fmla="*/ 0 h 52"/>
              <a:gd name="T54" fmla="*/ 12054 w 113"/>
              <a:gd name="T55" fmla="*/ 0 h 52"/>
              <a:gd name="T56" fmla="*/ 16690 w 113"/>
              <a:gd name="T57" fmla="*/ 2259 h 52"/>
              <a:gd name="T58" fmla="*/ 21326 w 113"/>
              <a:gd name="T59" fmla="*/ 5648 h 52"/>
              <a:gd name="T60" fmla="*/ 26425 w 113"/>
              <a:gd name="T61" fmla="*/ 10166 h 52"/>
              <a:gd name="T62" fmla="*/ 35697 w 113"/>
              <a:gd name="T63" fmla="*/ 20332 h 52"/>
              <a:gd name="T64" fmla="*/ 44042 w 113"/>
              <a:gd name="T65" fmla="*/ 32758 h 52"/>
              <a:gd name="T66" fmla="*/ 50069 w 113"/>
              <a:gd name="T67" fmla="*/ 40665 h 52"/>
              <a:gd name="T68" fmla="*/ 52387 w 113"/>
              <a:gd name="T69" fmla="*/ 44054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6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11747 h 40"/>
              <a:gd name="T2" fmla="*/ 3563 w 139"/>
              <a:gd name="T3" fmla="*/ 13216 h 40"/>
              <a:gd name="T4" fmla="*/ 8463 w 139"/>
              <a:gd name="T5" fmla="*/ 11747 h 40"/>
              <a:gd name="T6" fmla="*/ 13362 w 139"/>
              <a:gd name="T7" fmla="*/ 10279 h 40"/>
              <a:gd name="T8" fmla="*/ 18707 w 139"/>
              <a:gd name="T9" fmla="*/ 7342 h 40"/>
              <a:gd name="T10" fmla="*/ 23607 w 139"/>
              <a:gd name="T11" fmla="*/ 2937 h 40"/>
              <a:gd name="T12" fmla="*/ 28506 w 139"/>
              <a:gd name="T13" fmla="*/ 1468 h 40"/>
              <a:gd name="T14" fmla="*/ 32515 w 139"/>
              <a:gd name="T15" fmla="*/ 0 h 40"/>
              <a:gd name="T16" fmla="*/ 35633 w 139"/>
              <a:gd name="T17" fmla="*/ 2937 h 40"/>
              <a:gd name="T18" fmla="*/ 61912 w 139"/>
              <a:gd name="T19" fmla="*/ 57269 h 40"/>
              <a:gd name="T20" fmla="*/ 59240 w 139"/>
              <a:gd name="T21" fmla="*/ 58737 h 40"/>
              <a:gd name="T22" fmla="*/ 55676 w 139"/>
              <a:gd name="T23" fmla="*/ 57269 h 40"/>
              <a:gd name="T24" fmla="*/ 51668 w 139"/>
              <a:gd name="T25" fmla="*/ 55800 h 40"/>
              <a:gd name="T26" fmla="*/ 47213 w 139"/>
              <a:gd name="T27" fmla="*/ 52863 h 40"/>
              <a:gd name="T28" fmla="*/ 38305 w 139"/>
              <a:gd name="T29" fmla="*/ 44053 h 40"/>
              <a:gd name="T30" fmla="*/ 28506 w 139"/>
              <a:gd name="T31" fmla="*/ 35242 h 40"/>
              <a:gd name="T32" fmla="*/ 19598 w 139"/>
              <a:gd name="T33" fmla="*/ 23495 h 40"/>
              <a:gd name="T34" fmla="*/ 11581 w 139"/>
              <a:gd name="T35" fmla="*/ 16153 h 40"/>
              <a:gd name="T36" fmla="*/ 7572 w 139"/>
              <a:gd name="T37" fmla="*/ 13216 h 40"/>
              <a:gd name="T38" fmla="*/ 4900 w 139"/>
              <a:gd name="T39" fmla="*/ 10279 h 40"/>
              <a:gd name="T40" fmla="*/ 1782 w 139"/>
              <a:gd name="T41" fmla="*/ 10279 h 40"/>
              <a:gd name="T42" fmla="*/ 0 w 139"/>
              <a:gd name="T43" fmla="*/ 117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7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4298 w 325"/>
              <a:gd name="T1" fmla="*/ 5635 h 71"/>
              <a:gd name="T2" fmla="*/ 13325 w 325"/>
              <a:gd name="T3" fmla="*/ 805 h 71"/>
              <a:gd name="T4" fmla="*/ 22782 w 325"/>
              <a:gd name="T5" fmla="*/ 0 h 71"/>
              <a:gd name="T6" fmla="*/ 31379 w 325"/>
              <a:gd name="T7" fmla="*/ 3220 h 71"/>
              <a:gd name="T8" fmla="*/ 39546 w 325"/>
              <a:gd name="T9" fmla="*/ 8049 h 71"/>
              <a:gd name="T10" fmla="*/ 47283 w 325"/>
              <a:gd name="T11" fmla="*/ 14489 h 71"/>
              <a:gd name="T12" fmla="*/ 52441 w 325"/>
              <a:gd name="T13" fmla="*/ 23343 h 71"/>
              <a:gd name="T14" fmla="*/ 55880 w 325"/>
              <a:gd name="T15" fmla="*/ 30587 h 71"/>
              <a:gd name="T16" fmla="*/ 58459 w 325"/>
              <a:gd name="T17" fmla="*/ 27368 h 71"/>
              <a:gd name="T18" fmla="*/ 59749 w 325"/>
              <a:gd name="T19" fmla="*/ 12074 h 71"/>
              <a:gd name="T20" fmla="*/ 69205 w 325"/>
              <a:gd name="T21" fmla="*/ 5635 h 71"/>
              <a:gd name="T22" fmla="*/ 92847 w 325"/>
              <a:gd name="T23" fmla="*/ 10464 h 71"/>
              <a:gd name="T24" fmla="*/ 110900 w 325"/>
              <a:gd name="T25" fmla="*/ 18513 h 71"/>
              <a:gd name="T26" fmla="*/ 121646 w 325"/>
              <a:gd name="T27" fmla="*/ 25758 h 71"/>
              <a:gd name="T28" fmla="*/ 131103 w 325"/>
              <a:gd name="T29" fmla="*/ 34612 h 71"/>
              <a:gd name="T30" fmla="*/ 137551 w 325"/>
              <a:gd name="T31" fmla="*/ 44271 h 71"/>
              <a:gd name="T32" fmla="*/ 135831 w 325"/>
              <a:gd name="T33" fmla="*/ 51515 h 71"/>
              <a:gd name="T34" fmla="*/ 126375 w 325"/>
              <a:gd name="T35" fmla="*/ 54735 h 71"/>
              <a:gd name="T36" fmla="*/ 111330 w 325"/>
              <a:gd name="T37" fmla="*/ 57150 h 71"/>
              <a:gd name="T38" fmla="*/ 90268 w 325"/>
              <a:gd name="T39" fmla="*/ 56345 h 71"/>
              <a:gd name="T40" fmla="*/ 71784 w 325"/>
              <a:gd name="T41" fmla="*/ 54735 h 71"/>
              <a:gd name="T42" fmla="*/ 57170 w 325"/>
              <a:gd name="T43" fmla="*/ 55540 h 71"/>
              <a:gd name="T44" fmla="*/ 38686 w 325"/>
              <a:gd name="T45" fmla="*/ 57150 h 71"/>
              <a:gd name="T46" fmla="*/ 30949 w 325"/>
              <a:gd name="T47" fmla="*/ 54735 h 71"/>
              <a:gd name="T48" fmla="*/ 28800 w 325"/>
              <a:gd name="T49" fmla="*/ 51515 h 71"/>
              <a:gd name="T50" fmla="*/ 24931 w 325"/>
              <a:gd name="T51" fmla="*/ 49101 h 71"/>
              <a:gd name="T52" fmla="*/ 19773 w 325"/>
              <a:gd name="T53" fmla="*/ 47491 h 71"/>
              <a:gd name="T54" fmla="*/ 15045 w 325"/>
              <a:gd name="T55" fmla="*/ 42661 h 71"/>
              <a:gd name="T56" fmla="*/ 10746 w 325"/>
              <a:gd name="T57" fmla="*/ 36222 h 71"/>
              <a:gd name="T58" fmla="*/ 6878 w 325"/>
              <a:gd name="T59" fmla="*/ 31392 h 71"/>
              <a:gd name="T60" fmla="*/ 2579 w 325"/>
              <a:gd name="T61" fmla="*/ 29782 h 71"/>
              <a:gd name="T62" fmla="*/ 0 w 325"/>
              <a:gd name="T63" fmla="*/ 17708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8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37667 w 220"/>
              <a:gd name="T1" fmla="*/ 19844 h 72"/>
              <a:gd name="T2" fmla="*/ 39832 w 220"/>
              <a:gd name="T3" fmla="*/ 20638 h 72"/>
              <a:gd name="T4" fmla="*/ 42430 w 220"/>
              <a:gd name="T5" fmla="*/ 21431 h 72"/>
              <a:gd name="T6" fmla="*/ 43728 w 220"/>
              <a:gd name="T7" fmla="*/ 22225 h 72"/>
              <a:gd name="T8" fmla="*/ 45027 w 220"/>
              <a:gd name="T9" fmla="*/ 21431 h 72"/>
              <a:gd name="T10" fmla="*/ 47192 w 220"/>
              <a:gd name="T11" fmla="*/ 21431 h 72"/>
              <a:gd name="T12" fmla="*/ 48924 w 220"/>
              <a:gd name="T13" fmla="*/ 19844 h 72"/>
              <a:gd name="T14" fmla="*/ 49357 w 220"/>
              <a:gd name="T15" fmla="*/ 20638 h 72"/>
              <a:gd name="T16" fmla="*/ 49790 w 220"/>
              <a:gd name="T17" fmla="*/ 20638 h 72"/>
              <a:gd name="T18" fmla="*/ 50223 w 220"/>
              <a:gd name="T19" fmla="*/ 19844 h 72"/>
              <a:gd name="T20" fmla="*/ 50656 w 220"/>
              <a:gd name="T21" fmla="*/ 19844 h 72"/>
              <a:gd name="T22" fmla="*/ 51522 w 220"/>
              <a:gd name="T23" fmla="*/ 17463 h 72"/>
              <a:gd name="T24" fmla="*/ 51955 w 220"/>
              <a:gd name="T25" fmla="*/ 13494 h 72"/>
              <a:gd name="T26" fmla="*/ 51955 w 220"/>
              <a:gd name="T27" fmla="*/ 5556 h 72"/>
              <a:gd name="T28" fmla="*/ 51955 w 220"/>
              <a:gd name="T29" fmla="*/ 0 h 72"/>
              <a:gd name="T30" fmla="*/ 54119 w 220"/>
              <a:gd name="T31" fmla="*/ 3969 h 72"/>
              <a:gd name="T32" fmla="*/ 56717 w 220"/>
              <a:gd name="T33" fmla="*/ 7938 h 72"/>
              <a:gd name="T34" fmla="*/ 59315 w 220"/>
              <a:gd name="T35" fmla="*/ 11906 h 72"/>
              <a:gd name="T36" fmla="*/ 61913 w 220"/>
              <a:gd name="T37" fmla="*/ 15081 h 72"/>
              <a:gd name="T38" fmla="*/ 67541 w 220"/>
              <a:gd name="T39" fmla="*/ 19844 h 72"/>
              <a:gd name="T40" fmla="*/ 73602 w 220"/>
              <a:gd name="T41" fmla="*/ 23813 h 72"/>
              <a:gd name="T42" fmla="*/ 79231 w 220"/>
              <a:gd name="T43" fmla="*/ 27781 h 72"/>
              <a:gd name="T44" fmla="*/ 84859 w 220"/>
              <a:gd name="T45" fmla="*/ 32544 h 72"/>
              <a:gd name="T46" fmla="*/ 87890 w 220"/>
              <a:gd name="T47" fmla="*/ 34925 h 72"/>
              <a:gd name="T48" fmla="*/ 90488 w 220"/>
              <a:gd name="T49" fmla="*/ 37306 h 72"/>
              <a:gd name="T50" fmla="*/ 92652 w 220"/>
              <a:gd name="T51" fmla="*/ 40481 h 72"/>
              <a:gd name="T52" fmla="*/ 95250 w 220"/>
              <a:gd name="T53" fmla="*/ 43656 h 72"/>
              <a:gd name="T54" fmla="*/ 89189 w 220"/>
              <a:gd name="T55" fmla="*/ 44450 h 72"/>
              <a:gd name="T56" fmla="*/ 83993 w 220"/>
              <a:gd name="T57" fmla="*/ 45244 h 72"/>
              <a:gd name="T58" fmla="*/ 78798 w 220"/>
              <a:gd name="T59" fmla="*/ 46038 h 72"/>
              <a:gd name="T60" fmla="*/ 74035 w 220"/>
              <a:gd name="T61" fmla="*/ 47625 h 72"/>
              <a:gd name="T62" fmla="*/ 65376 w 220"/>
              <a:gd name="T63" fmla="*/ 51594 h 72"/>
              <a:gd name="T64" fmla="*/ 58016 w 220"/>
              <a:gd name="T65" fmla="*/ 55563 h 72"/>
              <a:gd name="T66" fmla="*/ 54552 w 220"/>
              <a:gd name="T67" fmla="*/ 56356 h 72"/>
              <a:gd name="T68" fmla="*/ 50656 w 220"/>
              <a:gd name="T69" fmla="*/ 57150 h 72"/>
              <a:gd name="T70" fmla="*/ 47625 w 220"/>
              <a:gd name="T71" fmla="*/ 57150 h 72"/>
              <a:gd name="T72" fmla="*/ 44594 w 220"/>
              <a:gd name="T73" fmla="*/ 57150 h 72"/>
              <a:gd name="T74" fmla="*/ 41131 w 220"/>
              <a:gd name="T75" fmla="*/ 55563 h 72"/>
              <a:gd name="T76" fmla="*/ 38100 w 220"/>
              <a:gd name="T77" fmla="*/ 52388 h 72"/>
              <a:gd name="T78" fmla="*/ 35069 w 220"/>
              <a:gd name="T79" fmla="*/ 48419 h 72"/>
              <a:gd name="T80" fmla="*/ 32039 w 220"/>
              <a:gd name="T81" fmla="*/ 43656 h 72"/>
              <a:gd name="T82" fmla="*/ 25544 w 220"/>
              <a:gd name="T83" fmla="*/ 42069 h 72"/>
              <a:gd name="T84" fmla="*/ 19483 w 220"/>
              <a:gd name="T85" fmla="*/ 39688 h 72"/>
              <a:gd name="T86" fmla="*/ 14288 w 220"/>
              <a:gd name="T87" fmla="*/ 37306 h 72"/>
              <a:gd name="T88" fmla="*/ 9525 w 220"/>
              <a:gd name="T89" fmla="*/ 34131 h 72"/>
              <a:gd name="T90" fmla="*/ 7793 w 220"/>
              <a:gd name="T91" fmla="*/ 32544 h 72"/>
              <a:gd name="T92" fmla="*/ 5628 w 220"/>
              <a:gd name="T93" fmla="*/ 30163 h 72"/>
              <a:gd name="T94" fmla="*/ 3897 w 220"/>
              <a:gd name="T95" fmla="*/ 27781 h 72"/>
              <a:gd name="T96" fmla="*/ 3031 w 220"/>
              <a:gd name="T97" fmla="*/ 24606 h 72"/>
              <a:gd name="T98" fmla="*/ 1299 w 220"/>
              <a:gd name="T99" fmla="*/ 21431 h 72"/>
              <a:gd name="T100" fmla="*/ 866 w 220"/>
              <a:gd name="T101" fmla="*/ 18256 h 72"/>
              <a:gd name="T102" fmla="*/ 433 w 220"/>
              <a:gd name="T103" fmla="*/ 14288 h 72"/>
              <a:gd name="T104" fmla="*/ 0 w 220"/>
              <a:gd name="T105" fmla="*/ 10319 h 72"/>
              <a:gd name="T106" fmla="*/ 9958 w 220"/>
              <a:gd name="T107" fmla="*/ 13494 h 72"/>
              <a:gd name="T108" fmla="*/ 19050 w 220"/>
              <a:gd name="T109" fmla="*/ 16669 h 72"/>
              <a:gd name="T110" fmla="*/ 27709 w 220"/>
              <a:gd name="T111" fmla="*/ 19050 h 72"/>
              <a:gd name="T112" fmla="*/ 37667 w 220"/>
              <a:gd name="T113" fmla="*/ 19844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9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63500 w 146"/>
              <a:gd name="T1" fmla="*/ 48948 h 30"/>
              <a:gd name="T2" fmla="*/ 60890 w 146"/>
              <a:gd name="T3" fmla="*/ 31326 h 30"/>
              <a:gd name="T4" fmla="*/ 59586 w 146"/>
              <a:gd name="T5" fmla="*/ 17621 h 30"/>
              <a:gd name="T6" fmla="*/ 57846 w 146"/>
              <a:gd name="T7" fmla="*/ 7832 h 30"/>
              <a:gd name="T8" fmla="*/ 55671 w 146"/>
              <a:gd name="T9" fmla="*/ 1958 h 30"/>
              <a:gd name="T10" fmla="*/ 54801 w 146"/>
              <a:gd name="T11" fmla="*/ 1958 h 30"/>
              <a:gd name="T12" fmla="*/ 53932 w 146"/>
              <a:gd name="T13" fmla="*/ 1958 h 30"/>
              <a:gd name="T14" fmla="*/ 52192 w 146"/>
              <a:gd name="T15" fmla="*/ 3916 h 30"/>
              <a:gd name="T16" fmla="*/ 51322 w 146"/>
              <a:gd name="T17" fmla="*/ 5874 h 30"/>
              <a:gd name="T18" fmla="*/ 49147 w 146"/>
              <a:gd name="T19" fmla="*/ 17621 h 30"/>
              <a:gd name="T20" fmla="*/ 45668 w 146"/>
              <a:gd name="T21" fmla="*/ 37200 h 30"/>
              <a:gd name="T22" fmla="*/ 31315 w 146"/>
              <a:gd name="T23" fmla="*/ 37200 h 30"/>
              <a:gd name="T24" fmla="*/ 27401 w 146"/>
              <a:gd name="T25" fmla="*/ 35242 h 30"/>
              <a:gd name="T26" fmla="*/ 23921 w 146"/>
              <a:gd name="T27" fmla="*/ 33284 h 30"/>
              <a:gd name="T28" fmla="*/ 20442 w 146"/>
              <a:gd name="T29" fmla="*/ 27411 h 30"/>
              <a:gd name="T30" fmla="*/ 17397 w 146"/>
              <a:gd name="T31" fmla="*/ 23495 h 30"/>
              <a:gd name="T32" fmla="*/ 12613 w 146"/>
              <a:gd name="T33" fmla="*/ 11747 h 30"/>
              <a:gd name="T34" fmla="*/ 8264 w 146"/>
              <a:gd name="T35" fmla="*/ 0 h 30"/>
              <a:gd name="T36" fmla="*/ 6089 w 146"/>
              <a:gd name="T37" fmla="*/ 17621 h 30"/>
              <a:gd name="T38" fmla="*/ 4349 w 146"/>
              <a:gd name="T39" fmla="*/ 29369 h 30"/>
              <a:gd name="T40" fmla="*/ 1740 w 146"/>
              <a:gd name="T41" fmla="*/ 39158 h 30"/>
              <a:gd name="T42" fmla="*/ 0 w 146"/>
              <a:gd name="T43" fmla="*/ 48948 h 30"/>
              <a:gd name="T44" fmla="*/ 14353 w 146"/>
              <a:gd name="T45" fmla="*/ 48948 h 30"/>
              <a:gd name="T46" fmla="*/ 24791 w 146"/>
              <a:gd name="T47" fmla="*/ 48948 h 30"/>
              <a:gd name="T48" fmla="*/ 33490 w 146"/>
              <a:gd name="T49" fmla="*/ 48948 h 30"/>
              <a:gd name="T50" fmla="*/ 43058 w 146"/>
              <a:gd name="T51" fmla="*/ 48948 h 30"/>
              <a:gd name="T52" fmla="*/ 47842 w 146"/>
              <a:gd name="T53" fmla="*/ 50905 h 30"/>
              <a:gd name="T54" fmla="*/ 53497 w 146"/>
              <a:gd name="T55" fmla="*/ 56779 h 30"/>
              <a:gd name="T56" fmla="*/ 55671 w 146"/>
              <a:gd name="T57" fmla="*/ 58737 h 30"/>
              <a:gd name="T58" fmla="*/ 58716 w 146"/>
              <a:gd name="T59" fmla="*/ 58737 h 30"/>
              <a:gd name="T60" fmla="*/ 60890 w 146"/>
              <a:gd name="T61" fmla="*/ 54821 h 30"/>
              <a:gd name="T62" fmla="*/ 63500 w 146"/>
              <a:gd name="T63" fmla="*/ 48948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0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58737 h 9"/>
              <a:gd name="T2" fmla="*/ 6619 w 53"/>
              <a:gd name="T3" fmla="*/ 58737 h 9"/>
              <a:gd name="T4" fmla="*/ 11292 w 53"/>
              <a:gd name="T5" fmla="*/ 58737 h 9"/>
              <a:gd name="T6" fmla="*/ 15575 w 53"/>
              <a:gd name="T7" fmla="*/ 58737 h 9"/>
              <a:gd name="T8" fmla="*/ 20637 w 53"/>
              <a:gd name="T9" fmla="*/ 58737 h 9"/>
              <a:gd name="T10" fmla="*/ 17911 w 53"/>
              <a:gd name="T11" fmla="*/ 39158 h 9"/>
              <a:gd name="T12" fmla="*/ 14796 w 53"/>
              <a:gd name="T13" fmla="*/ 19579 h 9"/>
              <a:gd name="T14" fmla="*/ 12071 w 53"/>
              <a:gd name="T15" fmla="*/ 6526 h 9"/>
              <a:gd name="T16" fmla="*/ 9734 w 53"/>
              <a:gd name="T17" fmla="*/ 0 h 9"/>
              <a:gd name="T18" fmla="*/ 7398 w 53"/>
              <a:gd name="T19" fmla="*/ 0 h 9"/>
              <a:gd name="T20" fmla="*/ 5451 w 53"/>
              <a:gd name="T21" fmla="*/ 0 h 9"/>
              <a:gd name="T22" fmla="*/ 3504 w 53"/>
              <a:gd name="T23" fmla="*/ 6526 h 9"/>
              <a:gd name="T24" fmla="*/ 2336 w 53"/>
              <a:gd name="T25" fmla="*/ 19579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1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2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55562 h 25"/>
              <a:gd name="T2" fmla="*/ 2137 w 26"/>
              <a:gd name="T3" fmla="*/ 37782 h 25"/>
              <a:gd name="T4" fmla="*/ 5556 w 26"/>
              <a:gd name="T5" fmla="*/ 17780 h 25"/>
              <a:gd name="T6" fmla="*/ 6838 w 26"/>
              <a:gd name="T7" fmla="*/ 11112 h 25"/>
              <a:gd name="T8" fmla="*/ 8548 w 26"/>
              <a:gd name="T9" fmla="*/ 4445 h 25"/>
              <a:gd name="T10" fmla="*/ 9830 w 26"/>
              <a:gd name="T11" fmla="*/ 2222 h 25"/>
              <a:gd name="T12" fmla="*/ 11112 w 26"/>
              <a:gd name="T13" fmla="*/ 0 h 25"/>
              <a:gd name="T14" fmla="*/ 11112 w 26"/>
              <a:gd name="T15" fmla="*/ 55562 h 25"/>
              <a:gd name="T16" fmla="*/ 8548 w 26"/>
              <a:gd name="T17" fmla="*/ 55562 h 25"/>
              <a:gd name="T18" fmla="*/ 5556 w 26"/>
              <a:gd name="T19" fmla="*/ 55562 h 25"/>
              <a:gd name="T20" fmla="*/ 0 w 26"/>
              <a:gd name="T21" fmla="*/ 55562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3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9525 w 33"/>
              <a:gd name="T1" fmla="*/ 57150 h 25"/>
              <a:gd name="T2" fmla="*/ 9525 w 33"/>
              <a:gd name="T3" fmla="*/ 27432 h 25"/>
              <a:gd name="T4" fmla="*/ 9525 w 33"/>
              <a:gd name="T5" fmla="*/ 0 h 25"/>
              <a:gd name="T6" fmla="*/ 0 w 33"/>
              <a:gd name="T7" fmla="*/ 0 h 25"/>
              <a:gd name="T8" fmla="*/ 2598 w 33"/>
              <a:gd name="T9" fmla="*/ 20574 h 25"/>
              <a:gd name="T10" fmla="*/ 4618 w 33"/>
              <a:gd name="T11" fmla="*/ 38862 h 25"/>
              <a:gd name="T12" fmla="*/ 5773 w 33"/>
              <a:gd name="T13" fmla="*/ 45720 h 25"/>
              <a:gd name="T14" fmla="*/ 6927 w 33"/>
              <a:gd name="T15" fmla="*/ 52578 h 25"/>
              <a:gd name="T16" fmla="*/ 8082 w 33"/>
              <a:gd name="T17" fmla="*/ 54864 h 25"/>
              <a:gd name="T18" fmla="*/ 9525 w 33"/>
              <a:gd name="T19" fmla="*/ 57150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4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6191 w 20"/>
              <a:gd name="T3" fmla="*/ 57150 h 18"/>
              <a:gd name="T4" fmla="*/ 7620 w 20"/>
              <a:gd name="T5" fmla="*/ 34925 h 18"/>
              <a:gd name="T6" fmla="*/ 9525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5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58738 h 31"/>
              <a:gd name="T2" fmla="*/ 0 w 33"/>
              <a:gd name="T3" fmla="*/ 0 h 31"/>
              <a:gd name="T4" fmla="*/ 3464 w 33"/>
              <a:gd name="T5" fmla="*/ 0 h 31"/>
              <a:gd name="T6" fmla="*/ 6158 w 33"/>
              <a:gd name="T7" fmla="*/ 0 h 31"/>
              <a:gd name="T8" fmla="*/ 9236 w 33"/>
              <a:gd name="T9" fmla="*/ 0 h 31"/>
              <a:gd name="T10" fmla="*/ 12700 w 33"/>
              <a:gd name="T11" fmla="*/ 0 h 31"/>
              <a:gd name="T12" fmla="*/ 11545 w 33"/>
              <a:gd name="T13" fmla="*/ 3790 h 31"/>
              <a:gd name="T14" fmla="*/ 11161 w 33"/>
              <a:gd name="T15" fmla="*/ 9474 h 31"/>
              <a:gd name="T16" fmla="*/ 10776 w 33"/>
              <a:gd name="T17" fmla="*/ 17053 h 31"/>
              <a:gd name="T18" fmla="*/ 10776 w 33"/>
              <a:gd name="T19" fmla="*/ 24632 h 31"/>
              <a:gd name="T20" fmla="*/ 10776 w 33"/>
              <a:gd name="T21" fmla="*/ 32211 h 31"/>
              <a:gd name="T22" fmla="*/ 11161 w 33"/>
              <a:gd name="T23" fmla="*/ 39790 h 31"/>
              <a:gd name="T24" fmla="*/ 11545 w 33"/>
              <a:gd name="T25" fmla="*/ 49264 h 31"/>
              <a:gd name="T26" fmla="*/ 12700 w 33"/>
              <a:gd name="T27" fmla="*/ 58738 h 31"/>
              <a:gd name="T28" fmla="*/ 0 w 33"/>
              <a:gd name="T29" fmla="*/ 58738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6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1292 w 129"/>
              <a:gd name="T1" fmla="*/ 46151 h 56"/>
              <a:gd name="T2" fmla="*/ 431 w 129"/>
              <a:gd name="T3" fmla="*/ 44053 h 56"/>
              <a:gd name="T4" fmla="*/ 431 w 129"/>
              <a:gd name="T5" fmla="*/ 41955 h 56"/>
              <a:gd name="T6" fmla="*/ 0 w 129"/>
              <a:gd name="T7" fmla="*/ 38808 h 56"/>
              <a:gd name="T8" fmla="*/ 431 w 129"/>
              <a:gd name="T9" fmla="*/ 34613 h 56"/>
              <a:gd name="T10" fmla="*/ 861 w 129"/>
              <a:gd name="T11" fmla="*/ 26222 h 56"/>
              <a:gd name="T12" fmla="*/ 1292 w 129"/>
              <a:gd name="T13" fmla="*/ 18880 h 56"/>
              <a:gd name="T14" fmla="*/ 3876 w 129"/>
              <a:gd name="T15" fmla="*/ 13635 h 56"/>
              <a:gd name="T16" fmla="*/ 6892 w 129"/>
              <a:gd name="T17" fmla="*/ 9440 h 56"/>
              <a:gd name="T18" fmla="*/ 9045 w 129"/>
              <a:gd name="T19" fmla="*/ 6293 h 56"/>
              <a:gd name="T20" fmla="*/ 11629 w 129"/>
              <a:gd name="T21" fmla="*/ 5244 h 56"/>
              <a:gd name="T22" fmla="*/ 16798 w 129"/>
              <a:gd name="T23" fmla="*/ 3147 h 56"/>
              <a:gd name="T24" fmla="*/ 24551 w 129"/>
              <a:gd name="T25" fmla="*/ 0 h 56"/>
              <a:gd name="T26" fmla="*/ 25843 w 129"/>
              <a:gd name="T27" fmla="*/ 5244 h 56"/>
              <a:gd name="T28" fmla="*/ 27566 w 129"/>
              <a:gd name="T29" fmla="*/ 8391 h 56"/>
              <a:gd name="T30" fmla="*/ 29720 w 129"/>
              <a:gd name="T31" fmla="*/ 11538 h 56"/>
              <a:gd name="T32" fmla="*/ 31443 w 129"/>
              <a:gd name="T33" fmla="*/ 14684 h 56"/>
              <a:gd name="T34" fmla="*/ 35750 w 129"/>
              <a:gd name="T35" fmla="*/ 18880 h 56"/>
              <a:gd name="T36" fmla="*/ 40057 w 129"/>
              <a:gd name="T37" fmla="*/ 22026 h 56"/>
              <a:gd name="T38" fmla="*/ 44364 w 129"/>
              <a:gd name="T39" fmla="*/ 26222 h 56"/>
              <a:gd name="T40" fmla="*/ 48671 w 129"/>
              <a:gd name="T41" fmla="*/ 30417 h 56"/>
              <a:gd name="T42" fmla="*/ 50394 w 129"/>
              <a:gd name="T43" fmla="*/ 33564 h 56"/>
              <a:gd name="T44" fmla="*/ 52117 w 129"/>
              <a:gd name="T45" fmla="*/ 36711 h 56"/>
              <a:gd name="T46" fmla="*/ 54271 w 129"/>
              <a:gd name="T47" fmla="*/ 39857 h 56"/>
              <a:gd name="T48" fmla="*/ 55563 w 129"/>
              <a:gd name="T49" fmla="*/ 46151 h 56"/>
              <a:gd name="T50" fmla="*/ 51256 w 129"/>
              <a:gd name="T51" fmla="*/ 50346 h 56"/>
              <a:gd name="T52" fmla="*/ 46949 w 129"/>
              <a:gd name="T53" fmla="*/ 53493 h 56"/>
              <a:gd name="T54" fmla="*/ 42641 w 129"/>
              <a:gd name="T55" fmla="*/ 55590 h 56"/>
              <a:gd name="T56" fmla="*/ 38765 w 129"/>
              <a:gd name="T57" fmla="*/ 56639 h 56"/>
              <a:gd name="T58" fmla="*/ 30150 w 129"/>
              <a:gd name="T59" fmla="*/ 58737 h 56"/>
              <a:gd name="T60" fmla="*/ 21105 w 129"/>
              <a:gd name="T61" fmla="*/ 58737 h 56"/>
              <a:gd name="T62" fmla="*/ 17229 w 129"/>
              <a:gd name="T63" fmla="*/ 57688 h 56"/>
              <a:gd name="T64" fmla="*/ 13352 w 129"/>
              <a:gd name="T65" fmla="*/ 56639 h 56"/>
              <a:gd name="T66" fmla="*/ 9907 w 129"/>
              <a:gd name="T67" fmla="*/ 54542 h 56"/>
              <a:gd name="T68" fmla="*/ 6892 w 129"/>
              <a:gd name="T69" fmla="*/ 52444 h 56"/>
              <a:gd name="T70" fmla="*/ 2584 w 129"/>
              <a:gd name="T71" fmla="*/ 48248 h 56"/>
              <a:gd name="T72" fmla="*/ 1292 w 129"/>
              <a:gd name="T73" fmla="*/ 46151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7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7318 w 41"/>
              <a:gd name="T1" fmla="*/ 57150 h 42"/>
              <a:gd name="T2" fmla="*/ 0 w 41"/>
              <a:gd name="T3" fmla="*/ 40821 h 42"/>
              <a:gd name="T4" fmla="*/ 0 w 41"/>
              <a:gd name="T5" fmla="*/ 8164 h 42"/>
              <a:gd name="T6" fmla="*/ 2439 w 41"/>
              <a:gd name="T7" fmla="*/ 6804 h 42"/>
              <a:gd name="T8" fmla="*/ 4879 w 41"/>
              <a:gd name="T9" fmla="*/ 4082 h 42"/>
              <a:gd name="T10" fmla="*/ 8364 w 41"/>
              <a:gd name="T11" fmla="*/ 1361 h 42"/>
              <a:gd name="T12" fmla="*/ 11849 w 41"/>
              <a:gd name="T13" fmla="*/ 0 h 42"/>
              <a:gd name="T14" fmla="*/ 11849 w 41"/>
              <a:gd name="T15" fmla="*/ 24493 h 42"/>
              <a:gd name="T16" fmla="*/ 14288 w 41"/>
              <a:gd name="T17" fmla="*/ 24493 h 42"/>
              <a:gd name="T18" fmla="*/ 7318 w 41"/>
              <a:gd name="T19" fmla="*/ 57150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8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27654 w 93"/>
              <a:gd name="T1" fmla="*/ 13921 h 39"/>
              <a:gd name="T2" fmla="*/ 30880 w 93"/>
              <a:gd name="T3" fmla="*/ 27842 h 39"/>
              <a:gd name="T4" fmla="*/ 35489 w 93"/>
              <a:gd name="T5" fmla="*/ 43310 h 39"/>
              <a:gd name="T6" fmla="*/ 37332 w 93"/>
              <a:gd name="T7" fmla="*/ 51044 h 39"/>
              <a:gd name="T8" fmla="*/ 39637 w 93"/>
              <a:gd name="T9" fmla="*/ 55685 h 39"/>
              <a:gd name="T10" fmla="*/ 41480 w 93"/>
              <a:gd name="T11" fmla="*/ 58778 h 39"/>
              <a:gd name="T12" fmla="*/ 42863 w 93"/>
              <a:gd name="T13" fmla="*/ 60325 h 39"/>
              <a:gd name="T14" fmla="*/ 27654 w 93"/>
              <a:gd name="T15" fmla="*/ 60325 h 39"/>
              <a:gd name="T16" fmla="*/ 23045 w 93"/>
              <a:gd name="T17" fmla="*/ 55685 h 39"/>
              <a:gd name="T18" fmla="*/ 19818 w 93"/>
              <a:gd name="T19" fmla="*/ 49497 h 39"/>
              <a:gd name="T20" fmla="*/ 16592 w 93"/>
              <a:gd name="T21" fmla="*/ 43310 h 39"/>
              <a:gd name="T22" fmla="*/ 13827 w 93"/>
              <a:gd name="T23" fmla="*/ 35576 h 39"/>
              <a:gd name="T24" fmla="*/ 11061 w 93"/>
              <a:gd name="T25" fmla="*/ 27842 h 39"/>
              <a:gd name="T26" fmla="*/ 7374 w 93"/>
              <a:gd name="T27" fmla="*/ 20108 h 39"/>
              <a:gd name="T28" fmla="*/ 4148 w 93"/>
              <a:gd name="T29" fmla="*/ 10828 h 39"/>
              <a:gd name="T30" fmla="*/ 0 w 93"/>
              <a:gd name="T31" fmla="*/ 4640 h 39"/>
              <a:gd name="T32" fmla="*/ 5070 w 93"/>
              <a:gd name="T33" fmla="*/ 1547 h 39"/>
              <a:gd name="T34" fmla="*/ 9218 w 93"/>
              <a:gd name="T35" fmla="*/ 0 h 39"/>
              <a:gd name="T36" fmla="*/ 11983 w 93"/>
              <a:gd name="T37" fmla="*/ 0 h 39"/>
              <a:gd name="T38" fmla="*/ 15209 w 93"/>
              <a:gd name="T39" fmla="*/ 1547 h 39"/>
              <a:gd name="T40" fmla="*/ 20279 w 93"/>
              <a:gd name="T41" fmla="*/ 6187 h 39"/>
              <a:gd name="T42" fmla="*/ 27654 w 93"/>
              <a:gd name="T43" fmla="*/ 13921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9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19050 w 39"/>
              <a:gd name="T1" fmla="*/ 58738 h 19"/>
              <a:gd name="T2" fmla="*/ 6350 w 39"/>
              <a:gd name="T3" fmla="*/ 58738 h 19"/>
              <a:gd name="T4" fmla="*/ 3908 w 39"/>
              <a:gd name="T5" fmla="*/ 58738 h 19"/>
              <a:gd name="T6" fmla="*/ 2442 w 39"/>
              <a:gd name="T7" fmla="*/ 52555 h 19"/>
              <a:gd name="T8" fmla="*/ 1465 w 39"/>
              <a:gd name="T9" fmla="*/ 43281 h 19"/>
              <a:gd name="T10" fmla="*/ 977 w 39"/>
              <a:gd name="T11" fmla="*/ 34006 h 19"/>
              <a:gd name="T12" fmla="*/ 0 w 39"/>
              <a:gd name="T13" fmla="*/ 15457 h 19"/>
              <a:gd name="T14" fmla="*/ 0 w 39"/>
              <a:gd name="T15" fmla="*/ 0 h 19"/>
              <a:gd name="T16" fmla="*/ 6350 w 39"/>
              <a:gd name="T17" fmla="*/ 12366 h 19"/>
              <a:gd name="T18" fmla="*/ 10746 w 39"/>
              <a:gd name="T19" fmla="*/ 27823 h 19"/>
              <a:gd name="T20" fmla="*/ 14654 w 39"/>
              <a:gd name="T21" fmla="*/ 43281 h 19"/>
              <a:gd name="T22" fmla="*/ 19050 w 39"/>
              <a:gd name="T23" fmla="*/ 58738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0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57150 h 36"/>
              <a:gd name="T2" fmla="*/ 1649 w 26"/>
              <a:gd name="T3" fmla="*/ 49213 h 36"/>
              <a:gd name="T4" fmla="*/ 5495 w 26"/>
              <a:gd name="T5" fmla="*/ 31750 h 36"/>
              <a:gd name="T6" fmla="*/ 9891 w 26"/>
              <a:gd name="T7" fmla="*/ 12700 h 36"/>
              <a:gd name="T8" fmla="*/ 14287 w 26"/>
              <a:gd name="T9" fmla="*/ 0 h 36"/>
              <a:gd name="T10" fmla="*/ 14287 w 26"/>
              <a:gd name="T11" fmla="*/ 14288 h 36"/>
              <a:gd name="T12" fmla="*/ 14287 w 26"/>
              <a:gd name="T13" fmla="*/ 28575 h 36"/>
              <a:gd name="T14" fmla="*/ 13738 w 26"/>
              <a:gd name="T15" fmla="*/ 34925 h 36"/>
              <a:gd name="T16" fmla="*/ 13188 w 26"/>
              <a:gd name="T17" fmla="*/ 41275 h 36"/>
              <a:gd name="T18" fmla="*/ 11540 w 26"/>
              <a:gd name="T19" fmla="*/ 46038 h 36"/>
              <a:gd name="T20" fmla="*/ 9342 w 26"/>
              <a:gd name="T21" fmla="*/ 50800 h 36"/>
              <a:gd name="T22" fmla="*/ 7693 w 26"/>
              <a:gd name="T23" fmla="*/ 53975 h 36"/>
              <a:gd name="T24" fmla="*/ 5495 w 26"/>
              <a:gd name="T25" fmla="*/ 55563 h 36"/>
              <a:gd name="T26" fmla="*/ 2198 w 26"/>
              <a:gd name="T27" fmla="*/ 57150 h 36"/>
              <a:gd name="T28" fmla="*/ 0 w 26"/>
              <a:gd name="T29" fmla="*/ 57150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1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60325 h 37"/>
              <a:gd name="T2" fmla="*/ 0 w 6"/>
              <a:gd name="T3" fmla="*/ 0 h 37"/>
              <a:gd name="T4" fmla="*/ 3175 w 6"/>
              <a:gd name="T5" fmla="*/ 0 h 37"/>
              <a:gd name="T6" fmla="*/ 3175 w 6"/>
              <a:gd name="T7" fmla="*/ 50543 h 37"/>
              <a:gd name="T8" fmla="*/ 0 w 6"/>
              <a:gd name="T9" fmla="*/ 60325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2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40057 h 43"/>
              <a:gd name="T2" fmla="*/ 0 w 20"/>
              <a:gd name="T3" fmla="*/ 32304 h 43"/>
              <a:gd name="T4" fmla="*/ 0 w 20"/>
              <a:gd name="T5" fmla="*/ 23259 h 43"/>
              <a:gd name="T6" fmla="*/ 953 w 20"/>
              <a:gd name="T7" fmla="*/ 11629 h 43"/>
              <a:gd name="T8" fmla="*/ 3334 w 20"/>
              <a:gd name="T9" fmla="*/ 0 h 43"/>
              <a:gd name="T10" fmla="*/ 5239 w 20"/>
              <a:gd name="T11" fmla="*/ 9045 h 43"/>
              <a:gd name="T12" fmla="*/ 7620 w 20"/>
              <a:gd name="T13" fmla="*/ 15506 h 43"/>
              <a:gd name="T14" fmla="*/ 8096 w 20"/>
              <a:gd name="T15" fmla="*/ 18090 h 43"/>
              <a:gd name="T16" fmla="*/ 9049 w 20"/>
              <a:gd name="T17" fmla="*/ 23259 h 43"/>
              <a:gd name="T18" fmla="*/ 9049 w 20"/>
              <a:gd name="T19" fmla="*/ 27135 h 43"/>
              <a:gd name="T20" fmla="*/ 9525 w 20"/>
              <a:gd name="T21" fmla="*/ 32304 h 43"/>
              <a:gd name="T22" fmla="*/ 9049 w 20"/>
              <a:gd name="T23" fmla="*/ 34888 h 43"/>
              <a:gd name="T24" fmla="*/ 8573 w 20"/>
              <a:gd name="T25" fmla="*/ 38765 h 43"/>
              <a:gd name="T26" fmla="*/ 7620 w 20"/>
              <a:gd name="T27" fmla="*/ 42641 h 43"/>
              <a:gd name="T28" fmla="*/ 5715 w 20"/>
              <a:gd name="T29" fmla="*/ 46518 h 43"/>
              <a:gd name="T30" fmla="*/ 4286 w 20"/>
              <a:gd name="T31" fmla="*/ 50394 h 43"/>
              <a:gd name="T32" fmla="*/ 2858 w 20"/>
              <a:gd name="T33" fmla="*/ 52979 h 43"/>
              <a:gd name="T34" fmla="*/ 953 w 20"/>
              <a:gd name="T35" fmla="*/ 54271 h 43"/>
              <a:gd name="T36" fmla="*/ 0 w 20"/>
              <a:gd name="T37" fmla="*/ 55563 h 43"/>
              <a:gd name="T38" fmla="*/ 0 w 20"/>
              <a:gd name="T39" fmla="*/ 4005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3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58738 h 30"/>
              <a:gd name="T1" fmla="*/ 48948 h 30"/>
              <a:gd name="T2" fmla="*/ 35243 h 30"/>
              <a:gd name="T3" fmla="*/ 17621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4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7938 w 20"/>
              <a:gd name="T3" fmla="*/ 0 h 24"/>
              <a:gd name="T4" fmla="*/ 0 w 20"/>
              <a:gd name="T5" fmla="*/ 58738 h 2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5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3416 w 46"/>
              <a:gd name="T3" fmla="*/ 9525 h 19"/>
              <a:gd name="T4" fmla="*/ 5315 w 46"/>
              <a:gd name="T5" fmla="*/ 15875 h 19"/>
              <a:gd name="T6" fmla="*/ 7213 w 46"/>
              <a:gd name="T7" fmla="*/ 25400 h 19"/>
              <a:gd name="T8" fmla="*/ 8731 w 46"/>
              <a:gd name="T9" fmla="*/ 31750 h 19"/>
              <a:gd name="T10" fmla="*/ 9870 w 46"/>
              <a:gd name="T11" fmla="*/ 38100 h 19"/>
              <a:gd name="T12" fmla="*/ 12147 w 46"/>
              <a:gd name="T13" fmla="*/ 44450 h 19"/>
              <a:gd name="T14" fmla="*/ 14046 w 46"/>
              <a:gd name="T15" fmla="*/ 53975 h 19"/>
              <a:gd name="T16" fmla="*/ 17462 w 46"/>
              <a:gd name="T17" fmla="*/ 60325 h 19"/>
              <a:gd name="T18" fmla="*/ 12527 w 46"/>
              <a:gd name="T19" fmla="*/ 60325 h 19"/>
              <a:gd name="T20" fmla="*/ 9111 w 46"/>
              <a:gd name="T21" fmla="*/ 60325 h 19"/>
              <a:gd name="T22" fmla="*/ 6833 w 46"/>
              <a:gd name="T23" fmla="*/ 57150 h 19"/>
              <a:gd name="T24" fmla="*/ 4935 w 46"/>
              <a:gd name="T25" fmla="*/ 53975 h 19"/>
              <a:gd name="T26" fmla="*/ 3796 w 46"/>
              <a:gd name="T27" fmla="*/ 44450 h 19"/>
              <a:gd name="T28" fmla="*/ 2657 w 46"/>
              <a:gd name="T29" fmla="*/ 34925 h 19"/>
              <a:gd name="T30" fmla="*/ 1518 w 46"/>
              <a:gd name="T31" fmla="*/ 22225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6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15716 w 100"/>
              <a:gd name="T1" fmla="*/ 0 h 55"/>
              <a:gd name="T2" fmla="*/ 47625 w 100"/>
              <a:gd name="T3" fmla="*/ 12816 h 55"/>
              <a:gd name="T4" fmla="*/ 47625 w 100"/>
              <a:gd name="T5" fmla="*/ 58738 h 55"/>
              <a:gd name="T6" fmla="*/ 6191 w 100"/>
              <a:gd name="T7" fmla="*/ 58738 h 55"/>
              <a:gd name="T8" fmla="*/ 0 w 100"/>
              <a:gd name="T9" fmla="*/ 45922 h 55"/>
              <a:gd name="T10" fmla="*/ 476 w 100"/>
              <a:gd name="T11" fmla="*/ 40583 h 55"/>
              <a:gd name="T12" fmla="*/ 1905 w 100"/>
              <a:gd name="T13" fmla="*/ 34175 h 55"/>
              <a:gd name="T14" fmla="*/ 4763 w 100"/>
              <a:gd name="T15" fmla="*/ 26699 h 55"/>
              <a:gd name="T16" fmla="*/ 7620 w 100"/>
              <a:gd name="T17" fmla="*/ 19223 h 55"/>
              <a:gd name="T18" fmla="*/ 12859 w 100"/>
              <a:gd name="T19" fmla="*/ 5340 h 55"/>
              <a:gd name="T20" fmla="*/ 15716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7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22946 w 99"/>
              <a:gd name="T1" fmla="*/ 2303 h 51"/>
              <a:gd name="T2" fmla="*/ 25111 w 99"/>
              <a:gd name="T3" fmla="*/ 1152 h 51"/>
              <a:gd name="T4" fmla="*/ 26843 w 99"/>
              <a:gd name="T5" fmla="*/ 0 h 51"/>
              <a:gd name="T6" fmla="*/ 28142 w 99"/>
              <a:gd name="T7" fmla="*/ 0 h 51"/>
              <a:gd name="T8" fmla="*/ 29874 w 99"/>
              <a:gd name="T9" fmla="*/ 1152 h 51"/>
              <a:gd name="T10" fmla="*/ 32038 w 99"/>
              <a:gd name="T11" fmla="*/ 5759 h 51"/>
              <a:gd name="T12" fmla="*/ 34203 w 99"/>
              <a:gd name="T13" fmla="*/ 12669 h 51"/>
              <a:gd name="T14" fmla="*/ 35935 w 99"/>
              <a:gd name="T15" fmla="*/ 20731 h 51"/>
              <a:gd name="T16" fmla="*/ 37667 w 99"/>
              <a:gd name="T17" fmla="*/ 28793 h 51"/>
              <a:gd name="T18" fmla="*/ 39398 w 99"/>
              <a:gd name="T19" fmla="*/ 32248 h 51"/>
              <a:gd name="T20" fmla="*/ 40264 w 99"/>
              <a:gd name="T21" fmla="*/ 34551 h 51"/>
              <a:gd name="T22" fmla="*/ 41563 w 99"/>
              <a:gd name="T23" fmla="*/ 36855 h 51"/>
              <a:gd name="T24" fmla="*/ 42862 w 99"/>
              <a:gd name="T25" fmla="*/ 39158 h 51"/>
              <a:gd name="T26" fmla="*/ 42862 w 99"/>
              <a:gd name="T27" fmla="*/ 42613 h 51"/>
              <a:gd name="T28" fmla="*/ 41996 w 99"/>
              <a:gd name="T29" fmla="*/ 46068 h 51"/>
              <a:gd name="T30" fmla="*/ 41130 w 99"/>
              <a:gd name="T31" fmla="*/ 49523 h 51"/>
              <a:gd name="T32" fmla="*/ 39398 w 99"/>
              <a:gd name="T33" fmla="*/ 51827 h 51"/>
              <a:gd name="T34" fmla="*/ 37234 w 99"/>
              <a:gd name="T35" fmla="*/ 54130 h 51"/>
              <a:gd name="T36" fmla="*/ 35069 w 99"/>
              <a:gd name="T37" fmla="*/ 55282 h 51"/>
              <a:gd name="T38" fmla="*/ 32038 w 99"/>
              <a:gd name="T39" fmla="*/ 57585 h 51"/>
              <a:gd name="T40" fmla="*/ 29441 w 99"/>
              <a:gd name="T41" fmla="*/ 57585 h 51"/>
              <a:gd name="T42" fmla="*/ 22513 w 99"/>
              <a:gd name="T43" fmla="*/ 58737 h 51"/>
              <a:gd name="T44" fmla="*/ 15586 w 99"/>
              <a:gd name="T45" fmla="*/ 56434 h 51"/>
              <a:gd name="T46" fmla="*/ 11690 w 99"/>
              <a:gd name="T47" fmla="*/ 55282 h 51"/>
              <a:gd name="T48" fmla="*/ 7793 w 99"/>
              <a:gd name="T49" fmla="*/ 51827 h 51"/>
              <a:gd name="T50" fmla="*/ 3897 w 99"/>
              <a:gd name="T51" fmla="*/ 49523 h 51"/>
              <a:gd name="T52" fmla="*/ 433 w 99"/>
              <a:gd name="T53" fmla="*/ 46068 h 51"/>
              <a:gd name="T54" fmla="*/ 0 w 99"/>
              <a:gd name="T55" fmla="*/ 44917 h 51"/>
              <a:gd name="T56" fmla="*/ 433 w 99"/>
              <a:gd name="T57" fmla="*/ 42613 h 51"/>
              <a:gd name="T58" fmla="*/ 1299 w 99"/>
              <a:gd name="T59" fmla="*/ 40310 h 51"/>
              <a:gd name="T60" fmla="*/ 2598 w 99"/>
              <a:gd name="T61" fmla="*/ 38006 h 51"/>
              <a:gd name="T62" fmla="*/ 6061 w 99"/>
              <a:gd name="T63" fmla="*/ 33399 h 51"/>
              <a:gd name="T64" fmla="*/ 10824 w 99"/>
              <a:gd name="T65" fmla="*/ 27641 h 51"/>
              <a:gd name="T66" fmla="*/ 15153 w 99"/>
              <a:gd name="T67" fmla="*/ 21882 h 51"/>
              <a:gd name="T68" fmla="*/ 19483 w 99"/>
              <a:gd name="T69" fmla="*/ 13820 h 51"/>
              <a:gd name="T70" fmla="*/ 20782 w 99"/>
              <a:gd name="T71" fmla="*/ 11517 h 51"/>
              <a:gd name="T72" fmla="*/ 22080 w 99"/>
              <a:gd name="T73" fmla="*/ 8062 h 51"/>
              <a:gd name="T74" fmla="*/ 22513 w 99"/>
              <a:gd name="T75" fmla="*/ 5759 h 51"/>
              <a:gd name="T76" fmla="*/ 22946 w 99"/>
              <a:gd name="T77" fmla="*/ 2303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8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137160 w 525"/>
              <a:gd name="T1" fmla="*/ 14196 h 311"/>
              <a:gd name="T2" fmla="*/ 148917 w 525"/>
              <a:gd name="T3" fmla="*/ 11041 h 311"/>
              <a:gd name="T4" fmla="*/ 167640 w 525"/>
              <a:gd name="T5" fmla="*/ 10515 h 311"/>
              <a:gd name="T6" fmla="*/ 177655 w 525"/>
              <a:gd name="T7" fmla="*/ 8938 h 311"/>
              <a:gd name="T8" fmla="*/ 185928 w 525"/>
              <a:gd name="T9" fmla="*/ 3680 h 311"/>
              <a:gd name="T10" fmla="*/ 223810 w 525"/>
              <a:gd name="T11" fmla="*/ 3155 h 311"/>
              <a:gd name="T12" fmla="*/ 228600 w 525"/>
              <a:gd name="T13" fmla="*/ 9989 h 311"/>
              <a:gd name="T14" fmla="*/ 203781 w 525"/>
              <a:gd name="T15" fmla="*/ 24711 h 311"/>
              <a:gd name="T16" fmla="*/ 170688 w 525"/>
              <a:gd name="T17" fmla="*/ 38381 h 311"/>
              <a:gd name="T18" fmla="*/ 155013 w 525"/>
              <a:gd name="T19" fmla="*/ 42061 h 311"/>
              <a:gd name="T20" fmla="*/ 139773 w 525"/>
              <a:gd name="T21" fmla="*/ 43638 h 311"/>
              <a:gd name="T22" fmla="*/ 121485 w 525"/>
              <a:gd name="T23" fmla="*/ 53102 h 311"/>
              <a:gd name="T24" fmla="*/ 106245 w 525"/>
              <a:gd name="T25" fmla="*/ 63617 h 311"/>
              <a:gd name="T26" fmla="*/ 94923 w 525"/>
              <a:gd name="T27" fmla="*/ 67823 h 311"/>
              <a:gd name="T28" fmla="*/ 81425 w 525"/>
              <a:gd name="T29" fmla="*/ 64669 h 311"/>
              <a:gd name="T30" fmla="*/ 77506 w 525"/>
              <a:gd name="T31" fmla="*/ 72029 h 311"/>
              <a:gd name="T32" fmla="*/ 76200 w 525"/>
              <a:gd name="T33" fmla="*/ 76235 h 311"/>
              <a:gd name="T34" fmla="*/ 80554 w 525"/>
              <a:gd name="T35" fmla="*/ 77813 h 311"/>
              <a:gd name="T36" fmla="*/ 80119 w 525"/>
              <a:gd name="T37" fmla="*/ 82545 h 311"/>
              <a:gd name="T38" fmla="*/ 76635 w 525"/>
              <a:gd name="T39" fmla="*/ 87802 h 311"/>
              <a:gd name="T40" fmla="*/ 78377 w 525"/>
              <a:gd name="T41" fmla="*/ 94111 h 311"/>
              <a:gd name="T42" fmla="*/ 70539 w 525"/>
              <a:gd name="T43" fmla="*/ 101998 h 311"/>
              <a:gd name="T44" fmla="*/ 62702 w 525"/>
              <a:gd name="T45" fmla="*/ 107255 h 311"/>
              <a:gd name="T46" fmla="*/ 61395 w 525"/>
              <a:gd name="T47" fmla="*/ 111987 h 311"/>
              <a:gd name="T48" fmla="*/ 62702 w 525"/>
              <a:gd name="T49" fmla="*/ 119874 h 311"/>
              <a:gd name="T50" fmla="*/ 70975 w 525"/>
              <a:gd name="T51" fmla="*/ 129863 h 311"/>
              <a:gd name="T52" fmla="*/ 83167 w 525"/>
              <a:gd name="T53" fmla="*/ 140378 h 311"/>
              <a:gd name="T54" fmla="*/ 111470 w 525"/>
              <a:gd name="T55" fmla="*/ 157729 h 311"/>
              <a:gd name="T56" fmla="*/ 105809 w 525"/>
              <a:gd name="T57" fmla="*/ 163512 h 311"/>
              <a:gd name="T58" fmla="*/ 82296 w 525"/>
              <a:gd name="T59" fmla="*/ 162460 h 311"/>
              <a:gd name="T60" fmla="*/ 63137 w 525"/>
              <a:gd name="T61" fmla="*/ 161935 h 311"/>
              <a:gd name="T62" fmla="*/ 56170 w 525"/>
              <a:gd name="T63" fmla="*/ 159832 h 311"/>
              <a:gd name="T64" fmla="*/ 53558 w 525"/>
              <a:gd name="T65" fmla="*/ 156677 h 311"/>
              <a:gd name="T66" fmla="*/ 52251 w 525"/>
              <a:gd name="T67" fmla="*/ 148265 h 311"/>
              <a:gd name="T68" fmla="*/ 50510 w 525"/>
              <a:gd name="T69" fmla="*/ 146162 h 311"/>
              <a:gd name="T70" fmla="*/ 41366 w 525"/>
              <a:gd name="T71" fmla="*/ 145636 h 311"/>
              <a:gd name="T72" fmla="*/ 34834 w 525"/>
              <a:gd name="T73" fmla="*/ 155626 h 311"/>
              <a:gd name="T74" fmla="*/ 19159 w 525"/>
              <a:gd name="T75" fmla="*/ 148265 h 311"/>
              <a:gd name="T76" fmla="*/ 0 w 525"/>
              <a:gd name="T77" fmla="*/ 129337 h 311"/>
              <a:gd name="T78" fmla="*/ 7838 w 525"/>
              <a:gd name="T79" fmla="*/ 125657 h 311"/>
              <a:gd name="T80" fmla="*/ 14805 w 525"/>
              <a:gd name="T81" fmla="*/ 116719 h 311"/>
              <a:gd name="T82" fmla="*/ 12192 w 525"/>
              <a:gd name="T83" fmla="*/ 111987 h 311"/>
              <a:gd name="T84" fmla="*/ 14805 w 525"/>
              <a:gd name="T85" fmla="*/ 105152 h 311"/>
              <a:gd name="T86" fmla="*/ 17417 w 525"/>
              <a:gd name="T87" fmla="*/ 98843 h 311"/>
              <a:gd name="T88" fmla="*/ 14805 w 525"/>
              <a:gd name="T89" fmla="*/ 94111 h 311"/>
              <a:gd name="T90" fmla="*/ 58347 w 525"/>
              <a:gd name="T91" fmla="*/ 94111 h 311"/>
              <a:gd name="T92" fmla="*/ 57041 w 525"/>
              <a:gd name="T93" fmla="*/ 93060 h 311"/>
              <a:gd name="T94" fmla="*/ 39189 w 525"/>
              <a:gd name="T95" fmla="*/ 87277 h 311"/>
              <a:gd name="T96" fmla="*/ 23513 w 525"/>
              <a:gd name="T97" fmla="*/ 77813 h 311"/>
              <a:gd name="T98" fmla="*/ 36576 w 525"/>
              <a:gd name="T99" fmla="*/ 70452 h 311"/>
              <a:gd name="T100" fmla="*/ 52251 w 525"/>
              <a:gd name="T101" fmla="*/ 58360 h 311"/>
              <a:gd name="T102" fmla="*/ 48333 w 525"/>
              <a:gd name="T103" fmla="*/ 54153 h 311"/>
              <a:gd name="T104" fmla="*/ 43543 w 525"/>
              <a:gd name="T105" fmla="*/ 42061 h 311"/>
              <a:gd name="T106" fmla="*/ 55299 w 525"/>
              <a:gd name="T107" fmla="*/ 39958 h 311"/>
              <a:gd name="T108" fmla="*/ 80119 w 525"/>
              <a:gd name="T109" fmla="*/ 30494 h 311"/>
              <a:gd name="T110" fmla="*/ 110599 w 525"/>
              <a:gd name="T111" fmla="*/ 18402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9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18487 w 79"/>
              <a:gd name="T1" fmla="*/ 0 h 38"/>
              <a:gd name="T2" fmla="*/ 21703 w 79"/>
              <a:gd name="T3" fmla="*/ 1462 h 38"/>
              <a:gd name="T4" fmla="*/ 24918 w 79"/>
              <a:gd name="T5" fmla="*/ 4386 h 38"/>
              <a:gd name="T6" fmla="*/ 27329 w 79"/>
              <a:gd name="T7" fmla="*/ 10235 h 38"/>
              <a:gd name="T8" fmla="*/ 28937 w 79"/>
              <a:gd name="T9" fmla="*/ 17546 h 38"/>
              <a:gd name="T10" fmla="*/ 30142 w 79"/>
              <a:gd name="T11" fmla="*/ 24857 h 38"/>
              <a:gd name="T12" fmla="*/ 30946 w 79"/>
              <a:gd name="T13" fmla="*/ 32167 h 38"/>
              <a:gd name="T14" fmla="*/ 31750 w 79"/>
              <a:gd name="T15" fmla="*/ 39478 h 38"/>
              <a:gd name="T16" fmla="*/ 31750 w 79"/>
              <a:gd name="T17" fmla="*/ 46789 h 38"/>
              <a:gd name="T18" fmla="*/ 30946 w 79"/>
              <a:gd name="T19" fmla="*/ 49713 h 38"/>
              <a:gd name="T20" fmla="*/ 30142 w 79"/>
              <a:gd name="T21" fmla="*/ 51176 h 38"/>
              <a:gd name="T22" fmla="*/ 28937 w 79"/>
              <a:gd name="T23" fmla="*/ 52638 h 38"/>
              <a:gd name="T24" fmla="*/ 27329 w 79"/>
              <a:gd name="T25" fmla="*/ 54100 h 38"/>
              <a:gd name="T26" fmla="*/ 22908 w 79"/>
              <a:gd name="T27" fmla="*/ 55562 h 38"/>
              <a:gd name="T28" fmla="*/ 18487 w 79"/>
              <a:gd name="T29" fmla="*/ 55562 h 38"/>
              <a:gd name="T30" fmla="*/ 15272 w 79"/>
              <a:gd name="T31" fmla="*/ 54100 h 38"/>
              <a:gd name="T32" fmla="*/ 12057 w 79"/>
              <a:gd name="T33" fmla="*/ 52638 h 38"/>
              <a:gd name="T34" fmla="*/ 8440 w 79"/>
              <a:gd name="T35" fmla="*/ 51176 h 38"/>
              <a:gd name="T36" fmla="*/ 6028 w 79"/>
              <a:gd name="T37" fmla="*/ 46789 h 38"/>
              <a:gd name="T38" fmla="*/ 3215 w 79"/>
              <a:gd name="T39" fmla="*/ 42403 h 38"/>
              <a:gd name="T40" fmla="*/ 1608 w 79"/>
              <a:gd name="T41" fmla="*/ 36554 h 38"/>
              <a:gd name="T42" fmla="*/ 804 w 79"/>
              <a:gd name="T43" fmla="*/ 32167 h 38"/>
              <a:gd name="T44" fmla="*/ 402 w 79"/>
              <a:gd name="T45" fmla="*/ 29243 h 38"/>
              <a:gd name="T46" fmla="*/ 0 w 79"/>
              <a:gd name="T47" fmla="*/ 24857 h 38"/>
              <a:gd name="T48" fmla="*/ 0 w 79"/>
              <a:gd name="T49" fmla="*/ 19008 h 38"/>
              <a:gd name="T50" fmla="*/ 402 w 79"/>
              <a:gd name="T51" fmla="*/ 16084 h 38"/>
              <a:gd name="T52" fmla="*/ 1608 w 79"/>
              <a:gd name="T53" fmla="*/ 13159 h 38"/>
              <a:gd name="T54" fmla="*/ 4019 w 79"/>
              <a:gd name="T55" fmla="*/ 8773 h 38"/>
              <a:gd name="T56" fmla="*/ 6832 w 79"/>
              <a:gd name="T57" fmla="*/ 5849 h 38"/>
              <a:gd name="T58" fmla="*/ 12861 w 79"/>
              <a:gd name="T59" fmla="*/ 1462 h 38"/>
              <a:gd name="T60" fmla="*/ 1848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0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11151 w 459"/>
              <a:gd name="T1" fmla="*/ 23626 h 511"/>
              <a:gd name="T2" fmla="*/ 5146 w 459"/>
              <a:gd name="T3" fmla="*/ 13126 h 511"/>
              <a:gd name="T4" fmla="*/ 0 w 459"/>
              <a:gd name="T5" fmla="*/ 0 h 511"/>
              <a:gd name="T6" fmla="*/ 9435 w 459"/>
              <a:gd name="T7" fmla="*/ 3675 h 511"/>
              <a:gd name="T8" fmla="*/ 14153 w 459"/>
              <a:gd name="T9" fmla="*/ 3150 h 511"/>
              <a:gd name="T10" fmla="*/ 40742 w 459"/>
              <a:gd name="T11" fmla="*/ 35177 h 511"/>
              <a:gd name="T12" fmla="*/ 62615 w 459"/>
              <a:gd name="T13" fmla="*/ 64578 h 511"/>
              <a:gd name="T14" fmla="*/ 92635 w 459"/>
              <a:gd name="T15" fmla="*/ 103955 h 511"/>
              <a:gd name="T16" fmla="*/ 110648 w 459"/>
              <a:gd name="T17" fmla="*/ 124431 h 511"/>
              <a:gd name="T18" fmla="*/ 129947 w 459"/>
              <a:gd name="T19" fmla="*/ 139657 h 511"/>
              <a:gd name="T20" fmla="*/ 159539 w 459"/>
              <a:gd name="T21" fmla="*/ 163283 h 511"/>
              <a:gd name="T22" fmla="*/ 170689 w 459"/>
              <a:gd name="T23" fmla="*/ 176409 h 511"/>
              <a:gd name="T24" fmla="*/ 156536 w 459"/>
              <a:gd name="T25" fmla="*/ 168008 h 511"/>
              <a:gd name="T26" fmla="*/ 138953 w 459"/>
              <a:gd name="T27" fmla="*/ 155408 h 511"/>
              <a:gd name="T28" fmla="*/ 134664 w 459"/>
              <a:gd name="T29" fmla="*/ 156458 h 511"/>
              <a:gd name="T30" fmla="*/ 134235 w 459"/>
              <a:gd name="T31" fmla="*/ 163283 h 511"/>
              <a:gd name="T32" fmla="*/ 135951 w 459"/>
              <a:gd name="T33" fmla="*/ 176934 h 511"/>
              <a:gd name="T34" fmla="*/ 139811 w 459"/>
              <a:gd name="T35" fmla="*/ 187959 h 511"/>
              <a:gd name="T36" fmla="*/ 149246 w 459"/>
              <a:gd name="T37" fmla="*/ 203185 h 511"/>
              <a:gd name="T38" fmla="*/ 168974 w 459"/>
              <a:gd name="T39" fmla="*/ 221036 h 511"/>
              <a:gd name="T40" fmla="*/ 188702 w 459"/>
              <a:gd name="T41" fmla="*/ 240462 h 511"/>
              <a:gd name="T42" fmla="*/ 192132 w 459"/>
              <a:gd name="T43" fmla="*/ 249912 h 511"/>
              <a:gd name="T44" fmla="*/ 183555 w 459"/>
              <a:gd name="T45" fmla="*/ 246237 h 511"/>
              <a:gd name="T46" fmla="*/ 168116 w 459"/>
              <a:gd name="T47" fmla="*/ 242562 h 511"/>
              <a:gd name="T48" fmla="*/ 168545 w 459"/>
              <a:gd name="T49" fmla="*/ 259363 h 511"/>
              <a:gd name="T50" fmla="*/ 170689 w 459"/>
              <a:gd name="T51" fmla="*/ 268288 h 511"/>
              <a:gd name="T52" fmla="*/ 166400 w 459"/>
              <a:gd name="T53" fmla="*/ 258313 h 511"/>
              <a:gd name="T54" fmla="*/ 155679 w 459"/>
              <a:gd name="T55" fmla="*/ 244662 h 511"/>
              <a:gd name="T56" fmla="*/ 147101 w 459"/>
              <a:gd name="T57" fmla="*/ 233636 h 511"/>
              <a:gd name="T58" fmla="*/ 145386 w 459"/>
              <a:gd name="T59" fmla="*/ 226286 h 511"/>
              <a:gd name="T60" fmla="*/ 140668 w 459"/>
              <a:gd name="T61" fmla="*/ 215785 h 511"/>
              <a:gd name="T62" fmla="*/ 132949 w 459"/>
              <a:gd name="T63" fmla="*/ 201610 h 511"/>
              <a:gd name="T64" fmla="*/ 127802 w 459"/>
              <a:gd name="T65" fmla="*/ 192684 h 511"/>
              <a:gd name="T66" fmla="*/ 120083 w 459"/>
              <a:gd name="T67" fmla="*/ 187959 h 511"/>
              <a:gd name="T68" fmla="*/ 113221 w 459"/>
              <a:gd name="T69" fmla="*/ 180084 h 511"/>
              <a:gd name="T70" fmla="*/ 106788 w 459"/>
              <a:gd name="T71" fmla="*/ 164858 h 511"/>
              <a:gd name="T72" fmla="*/ 105072 w 459"/>
              <a:gd name="T73" fmla="*/ 153832 h 511"/>
              <a:gd name="T74" fmla="*/ 100355 w 459"/>
              <a:gd name="T75" fmla="*/ 147532 h 511"/>
              <a:gd name="T76" fmla="*/ 83200 w 459"/>
              <a:gd name="T77" fmla="*/ 128106 h 511"/>
              <a:gd name="T78" fmla="*/ 73336 w 459"/>
              <a:gd name="T79" fmla="*/ 115506 h 511"/>
              <a:gd name="T80" fmla="*/ 69905 w 459"/>
              <a:gd name="T81" fmla="*/ 106580 h 511"/>
              <a:gd name="T82" fmla="*/ 66046 w 459"/>
              <a:gd name="T83" fmla="*/ 98180 h 511"/>
              <a:gd name="T84" fmla="*/ 49320 w 459"/>
              <a:gd name="T85" fmla="*/ 81379 h 511"/>
              <a:gd name="T86" fmla="*/ 30021 w 459"/>
              <a:gd name="T87" fmla="*/ 68253 h 511"/>
              <a:gd name="T88" fmla="*/ 20157 w 459"/>
              <a:gd name="T89" fmla="*/ 57753 h 511"/>
              <a:gd name="T90" fmla="*/ 16297 w 459"/>
              <a:gd name="T91" fmla="*/ 48827 h 511"/>
              <a:gd name="T92" fmla="*/ 14581 w 459"/>
              <a:gd name="T93" fmla="*/ 3937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411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2437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4 w 240"/>
                <a:gd name="T1" fmla="*/ 82 h 259"/>
                <a:gd name="T2" fmla="*/ 26 w 240"/>
                <a:gd name="T3" fmla="*/ 86 h 259"/>
                <a:gd name="T4" fmla="*/ 40 w 240"/>
                <a:gd name="T5" fmla="*/ 80 h 259"/>
                <a:gd name="T6" fmla="*/ 44 w 240"/>
                <a:gd name="T7" fmla="*/ 70 h 259"/>
                <a:gd name="T8" fmla="*/ 63 w 240"/>
                <a:gd name="T9" fmla="*/ 53 h 259"/>
                <a:gd name="T10" fmla="*/ 70 w 240"/>
                <a:gd name="T11" fmla="*/ 37 h 259"/>
                <a:gd name="T12" fmla="*/ 79 w 240"/>
                <a:gd name="T13" fmla="*/ 9 h 259"/>
                <a:gd name="T14" fmla="*/ 70 w 240"/>
                <a:gd name="T15" fmla="*/ 0 h 259"/>
                <a:gd name="T16" fmla="*/ 68 w 240"/>
                <a:gd name="T17" fmla="*/ 11 h 259"/>
                <a:gd name="T18" fmla="*/ 66 w 240"/>
                <a:gd name="T19" fmla="*/ 25 h 259"/>
                <a:gd name="T20" fmla="*/ 55 w 240"/>
                <a:gd name="T21" fmla="*/ 35 h 259"/>
                <a:gd name="T22" fmla="*/ 44 w 240"/>
                <a:gd name="T23" fmla="*/ 49 h 259"/>
                <a:gd name="T24" fmla="*/ 37 w 240"/>
                <a:gd name="T25" fmla="*/ 59 h 259"/>
                <a:gd name="T26" fmla="*/ 31 w 240"/>
                <a:gd name="T27" fmla="*/ 72 h 259"/>
                <a:gd name="T28" fmla="*/ 7 w 240"/>
                <a:gd name="T29" fmla="*/ 74 h 259"/>
                <a:gd name="T30" fmla="*/ 0 w 240"/>
                <a:gd name="T31" fmla="*/ 74 h 259"/>
                <a:gd name="T32" fmla="*/ 4 w 240"/>
                <a:gd name="T33" fmla="*/ 82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8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11 w 259"/>
                <a:gd name="T1" fmla="*/ 34 h 104"/>
                <a:gd name="T2" fmla="*/ 8 w 259"/>
                <a:gd name="T3" fmla="*/ 28 h 104"/>
                <a:gd name="T4" fmla="*/ 17 w 259"/>
                <a:gd name="T5" fmla="*/ 20 h 104"/>
                <a:gd name="T6" fmla="*/ 23 w 259"/>
                <a:gd name="T7" fmla="*/ 16 h 104"/>
                <a:gd name="T8" fmla="*/ 41 w 259"/>
                <a:gd name="T9" fmla="*/ 14 h 104"/>
                <a:gd name="T10" fmla="*/ 56 w 259"/>
                <a:gd name="T11" fmla="*/ 14 h 104"/>
                <a:gd name="T12" fmla="*/ 80 w 259"/>
                <a:gd name="T13" fmla="*/ 10 h 104"/>
                <a:gd name="T14" fmla="*/ 84 w 259"/>
                <a:gd name="T15" fmla="*/ 2 h 104"/>
                <a:gd name="T16" fmla="*/ 80 w 259"/>
                <a:gd name="T17" fmla="*/ 0 h 104"/>
                <a:gd name="T18" fmla="*/ 66 w 259"/>
                <a:gd name="T19" fmla="*/ 4 h 104"/>
                <a:gd name="T20" fmla="*/ 49 w 259"/>
                <a:gd name="T21" fmla="*/ 2 h 104"/>
                <a:gd name="T22" fmla="*/ 34 w 259"/>
                <a:gd name="T23" fmla="*/ 4 h 104"/>
                <a:gd name="T24" fmla="*/ 17 w 259"/>
                <a:gd name="T25" fmla="*/ 6 h 104"/>
                <a:gd name="T26" fmla="*/ 8 w 259"/>
                <a:gd name="T27" fmla="*/ 14 h 104"/>
                <a:gd name="T28" fmla="*/ 0 w 259"/>
                <a:gd name="T29" fmla="*/ 22 h 104"/>
                <a:gd name="T30" fmla="*/ 0 w 259"/>
                <a:gd name="T31" fmla="*/ 34 h 104"/>
                <a:gd name="T32" fmla="*/ 11 w 259"/>
                <a:gd name="T33" fmla="*/ 34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12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402746 w 1227"/>
              <a:gd name="T1" fmla="*/ 243317 h 979"/>
              <a:gd name="T2" fmla="*/ 402746 w 1227"/>
              <a:gd name="T3" fmla="*/ 230786 h 979"/>
              <a:gd name="T4" fmla="*/ 401882 w 1227"/>
              <a:gd name="T5" fmla="*/ 215122 h 979"/>
              <a:gd name="T6" fmla="*/ 392375 w 1227"/>
              <a:gd name="T7" fmla="*/ 201024 h 979"/>
              <a:gd name="T8" fmla="*/ 388486 w 1227"/>
              <a:gd name="T9" fmla="*/ 191625 h 979"/>
              <a:gd name="T10" fmla="*/ 353051 w 1227"/>
              <a:gd name="T11" fmla="*/ 162908 h 979"/>
              <a:gd name="T12" fmla="*/ 327988 w 1227"/>
              <a:gd name="T13" fmla="*/ 137323 h 979"/>
              <a:gd name="T14" fmla="*/ 324963 w 1227"/>
              <a:gd name="T15" fmla="*/ 119570 h 979"/>
              <a:gd name="T16" fmla="*/ 313727 w 1227"/>
              <a:gd name="T17" fmla="*/ 113827 h 979"/>
              <a:gd name="T18" fmla="*/ 300331 w 1227"/>
              <a:gd name="T19" fmla="*/ 108083 h 979"/>
              <a:gd name="T20" fmla="*/ 275700 w 1227"/>
              <a:gd name="T21" fmla="*/ 102339 h 979"/>
              <a:gd name="T22" fmla="*/ 257550 w 1227"/>
              <a:gd name="T23" fmla="*/ 104950 h 979"/>
              <a:gd name="T24" fmla="*/ 246315 w 1227"/>
              <a:gd name="T25" fmla="*/ 106517 h 979"/>
              <a:gd name="T26" fmla="*/ 229030 w 1227"/>
              <a:gd name="T27" fmla="*/ 101817 h 979"/>
              <a:gd name="T28" fmla="*/ 218226 w 1227"/>
              <a:gd name="T29" fmla="*/ 93463 h 979"/>
              <a:gd name="T30" fmla="*/ 208719 w 1227"/>
              <a:gd name="T31" fmla="*/ 66834 h 979"/>
              <a:gd name="T32" fmla="*/ 200941 w 1227"/>
              <a:gd name="T33" fmla="*/ 53780 h 979"/>
              <a:gd name="T34" fmla="*/ 186681 w 1227"/>
              <a:gd name="T35" fmla="*/ 42293 h 979"/>
              <a:gd name="T36" fmla="*/ 157728 w 1227"/>
              <a:gd name="T37" fmla="*/ 31851 h 979"/>
              <a:gd name="T38" fmla="*/ 130936 w 1227"/>
              <a:gd name="T39" fmla="*/ 16708 h 979"/>
              <a:gd name="T40" fmla="*/ 92476 w 1227"/>
              <a:gd name="T41" fmla="*/ 5221 h 979"/>
              <a:gd name="T42" fmla="*/ 71734 w 1227"/>
              <a:gd name="T43" fmla="*/ 19841 h 979"/>
              <a:gd name="T44" fmla="*/ 65252 w 1227"/>
              <a:gd name="T45" fmla="*/ 31851 h 979"/>
              <a:gd name="T46" fmla="*/ 66116 w 1227"/>
              <a:gd name="T47" fmla="*/ 46993 h 979"/>
              <a:gd name="T48" fmla="*/ 73030 w 1227"/>
              <a:gd name="T49" fmla="*/ 61613 h 979"/>
              <a:gd name="T50" fmla="*/ 65252 w 1227"/>
              <a:gd name="T51" fmla="*/ 78321 h 979"/>
              <a:gd name="T52" fmla="*/ 41052 w 1227"/>
              <a:gd name="T53" fmla="*/ 97118 h 979"/>
              <a:gd name="T54" fmla="*/ 23335 w 1227"/>
              <a:gd name="T55" fmla="*/ 99207 h 979"/>
              <a:gd name="T56" fmla="*/ 3889 w 1227"/>
              <a:gd name="T57" fmla="*/ 95552 h 979"/>
              <a:gd name="T58" fmla="*/ 0 w 1227"/>
              <a:gd name="T59" fmla="*/ 123225 h 979"/>
              <a:gd name="T60" fmla="*/ 3889 w 1227"/>
              <a:gd name="T61" fmla="*/ 140456 h 979"/>
              <a:gd name="T62" fmla="*/ 10803 w 1227"/>
              <a:gd name="T63" fmla="*/ 147243 h 979"/>
              <a:gd name="T64" fmla="*/ 17285 w 1227"/>
              <a:gd name="T65" fmla="*/ 160297 h 979"/>
              <a:gd name="T66" fmla="*/ 35867 w 1227"/>
              <a:gd name="T67" fmla="*/ 190059 h 979"/>
              <a:gd name="T68" fmla="*/ 44077 w 1227"/>
              <a:gd name="T69" fmla="*/ 216166 h 979"/>
              <a:gd name="T70" fmla="*/ 52288 w 1227"/>
              <a:gd name="T71" fmla="*/ 222954 h 979"/>
              <a:gd name="T72" fmla="*/ 57473 w 1227"/>
              <a:gd name="T73" fmla="*/ 228697 h 979"/>
              <a:gd name="T74" fmla="*/ 63955 w 1227"/>
              <a:gd name="T75" fmla="*/ 244884 h 979"/>
              <a:gd name="T76" fmla="*/ 96797 w 1227"/>
              <a:gd name="T77" fmla="*/ 285088 h 979"/>
              <a:gd name="T78" fmla="*/ 107601 w 1227"/>
              <a:gd name="T79" fmla="*/ 305452 h 979"/>
              <a:gd name="T80" fmla="*/ 110626 w 1227"/>
              <a:gd name="T81" fmla="*/ 325815 h 979"/>
              <a:gd name="T82" fmla="*/ 114947 w 1227"/>
              <a:gd name="T83" fmla="*/ 344090 h 979"/>
              <a:gd name="T84" fmla="*/ 129207 w 1227"/>
              <a:gd name="T85" fmla="*/ 366020 h 979"/>
              <a:gd name="T86" fmla="*/ 155999 w 1227"/>
              <a:gd name="T87" fmla="*/ 397348 h 979"/>
              <a:gd name="T88" fmla="*/ 167667 w 1227"/>
              <a:gd name="T89" fmla="*/ 425022 h 979"/>
              <a:gd name="T90" fmla="*/ 183656 w 1227"/>
              <a:gd name="T91" fmla="*/ 452695 h 979"/>
              <a:gd name="T92" fmla="*/ 208719 w 1227"/>
              <a:gd name="T93" fmla="*/ 489767 h 979"/>
              <a:gd name="T94" fmla="*/ 228165 w 1227"/>
              <a:gd name="T95" fmla="*/ 511175 h 979"/>
              <a:gd name="T96" fmla="*/ 234647 w 1227"/>
              <a:gd name="T97" fmla="*/ 497599 h 979"/>
              <a:gd name="T98" fmla="*/ 235944 w 1227"/>
              <a:gd name="T99" fmla="*/ 474625 h 979"/>
              <a:gd name="T100" fmla="*/ 246315 w 1227"/>
              <a:gd name="T101" fmla="*/ 467837 h 979"/>
              <a:gd name="T102" fmla="*/ 261439 w 1227"/>
              <a:gd name="T103" fmla="*/ 467315 h 979"/>
              <a:gd name="T104" fmla="*/ 285207 w 1227"/>
              <a:gd name="T105" fmla="*/ 474625 h 979"/>
              <a:gd name="T106" fmla="*/ 305949 w 1227"/>
              <a:gd name="T107" fmla="*/ 492378 h 979"/>
              <a:gd name="T108" fmla="*/ 340087 w 1227"/>
              <a:gd name="T109" fmla="*/ 437553 h 979"/>
              <a:gd name="T110" fmla="*/ 518125 w 1227"/>
              <a:gd name="T111" fmla="*/ 296053 h 979"/>
              <a:gd name="T112" fmla="*/ 406203 w 1227"/>
              <a:gd name="T113" fmla="*/ 244361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3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57150 w 146"/>
              <a:gd name="T1" fmla="*/ 12700 h 81"/>
              <a:gd name="T2" fmla="*/ 54018 w 146"/>
              <a:gd name="T3" fmla="*/ 16933 h 81"/>
              <a:gd name="T4" fmla="*/ 50887 w 146"/>
              <a:gd name="T5" fmla="*/ 20461 h 81"/>
              <a:gd name="T6" fmla="*/ 48147 w 146"/>
              <a:gd name="T7" fmla="*/ 24694 h 81"/>
              <a:gd name="T8" fmla="*/ 46190 w 146"/>
              <a:gd name="T9" fmla="*/ 28928 h 81"/>
              <a:gd name="T10" fmla="*/ 42275 w 146"/>
              <a:gd name="T11" fmla="*/ 37394 h 81"/>
              <a:gd name="T12" fmla="*/ 38361 w 146"/>
              <a:gd name="T13" fmla="*/ 45156 h 81"/>
              <a:gd name="T14" fmla="*/ 36404 w 146"/>
              <a:gd name="T15" fmla="*/ 48683 h 81"/>
              <a:gd name="T16" fmla="*/ 33272 w 146"/>
              <a:gd name="T17" fmla="*/ 51506 h 81"/>
              <a:gd name="T18" fmla="*/ 29749 w 146"/>
              <a:gd name="T19" fmla="*/ 54328 h 81"/>
              <a:gd name="T20" fmla="*/ 25835 w 146"/>
              <a:gd name="T21" fmla="*/ 56444 h 81"/>
              <a:gd name="T22" fmla="*/ 20746 w 146"/>
              <a:gd name="T23" fmla="*/ 57150 h 81"/>
              <a:gd name="T24" fmla="*/ 15266 w 146"/>
              <a:gd name="T25" fmla="*/ 56444 h 81"/>
              <a:gd name="T26" fmla="*/ 8220 w 146"/>
              <a:gd name="T27" fmla="*/ 54328 h 81"/>
              <a:gd name="T28" fmla="*/ 0 w 146"/>
              <a:gd name="T29" fmla="*/ 52211 h 81"/>
              <a:gd name="T30" fmla="*/ 0 w 146"/>
              <a:gd name="T31" fmla="*/ 43744 h 81"/>
              <a:gd name="T32" fmla="*/ 0 w 146"/>
              <a:gd name="T33" fmla="*/ 34572 h 81"/>
              <a:gd name="T34" fmla="*/ 0 w 146"/>
              <a:gd name="T35" fmla="*/ 23989 h 81"/>
              <a:gd name="T36" fmla="*/ 0 w 146"/>
              <a:gd name="T37" fmla="*/ 12700 h 81"/>
              <a:gd name="T38" fmla="*/ 5480 w 146"/>
              <a:gd name="T39" fmla="*/ 12700 h 81"/>
              <a:gd name="T40" fmla="*/ 8612 w 146"/>
              <a:gd name="T41" fmla="*/ 12700 h 81"/>
              <a:gd name="T42" fmla="*/ 12135 w 146"/>
              <a:gd name="T43" fmla="*/ 12700 h 81"/>
              <a:gd name="T44" fmla="*/ 15658 w 146"/>
              <a:gd name="T45" fmla="*/ 12700 h 81"/>
              <a:gd name="T46" fmla="*/ 20355 w 146"/>
              <a:gd name="T47" fmla="*/ 12700 h 81"/>
              <a:gd name="T48" fmla="*/ 24661 w 146"/>
              <a:gd name="T49" fmla="*/ 11289 h 81"/>
              <a:gd name="T50" fmla="*/ 28575 w 146"/>
              <a:gd name="T51" fmla="*/ 9878 h 81"/>
              <a:gd name="T52" fmla="*/ 32489 w 146"/>
              <a:gd name="T53" fmla="*/ 7761 h 81"/>
              <a:gd name="T54" fmla="*/ 39535 w 146"/>
              <a:gd name="T55" fmla="*/ 3528 h 81"/>
              <a:gd name="T56" fmla="*/ 46973 w 146"/>
              <a:gd name="T57" fmla="*/ 0 h 81"/>
              <a:gd name="T58" fmla="*/ 50496 w 146"/>
              <a:gd name="T59" fmla="*/ 2822 h 81"/>
              <a:gd name="T60" fmla="*/ 52844 w 146"/>
              <a:gd name="T61" fmla="*/ 6350 h 81"/>
              <a:gd name="T62" fmla="*/ 55193 w 146"/>
              <a:gd name="T63" fmla="*/ 9878 h 81"/>
              <a:gd name="T64" fmla="*/ 57150 w 146"/>
              <a:gd name="T65" fmla="*/ 12700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4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15875 w 34"/>
              <a:gd name="T1" fmla="*/ 57150 h 49"/>
              <a:gd name="T2" fmla="*/ 15875 w 34"/>
              <a:gd name="T3" fmla="*/ 39655 h 49"/>
              <a:gd name="T4" fmla="*/ 15875 w 34"/>
              <a:gd name="T5" fmla="*/ 29158 h 49"/>
              <a:gd name="T6" fmla="*/ 15408 w 34"/>
              <a:gd name="T7" fmla="*/ 24493 h 49"/>
              <a:gd name="T8" fmla="*/ 15408 w 34"/>
              <a:gd name="T9" fmla="*/ 19828 h 49"/>
              <a:gd name="T10" fmla="*/ 14474 w 34"/>
              <a:gd name="T11" fmla="*/ 17495 h 49"/>
              <a:gd name="T12" fmla="*/ 14007 w 34"/>
              <a:gd name="T13" fmla="*/ 13996 h 49"/>
              <a:gd name="T14" fmla="*/ 11673 w 34"/>
              <a:gd name="T15" fmla="*/ 9331 h 49"/>
              <a:gd name="T16" fmla="*/ 9805 w 34"/>
              <a:gd name="T17" fmla="*/ 0 h 49"/>
              <a:gd name="T18" fmla="*/ 3735 w 34"/>
              <a:gd name="T19" fmla="*/ 0 h 49"/>
              <a:gd name="T20" fmla="*/ 0 w 34"/>
              <a:gd name="T21" fmla="*/ 0 h 49"/>
              <a:gd name="T22" fmla="*/ 1401 w 34"/>
              <a:gd name="T23" fmla="*/ 12830 h 49"/>
              <a:gd name="T24" fmla="*/ 3268 w 34"/>
              <a:gd name="T25" fmla="*/ 23327 h 49"/>
              <a:gd name="T26" fmla="*/ 4669 w 34"/>
              <a:gd name="T27" fmla="*/ 31491 h 49"/>
              <a:gd name="T28" fmla="*/ 6537 w 34"/>
              <a:gd name="T29" fmla="*/ 39655 h 49"/>
              <a:gd name="T30" fmla="*/ 8871 w 34"/>
              <a:gd name="T31" fmla="*/ 45487 h 49"/>
              <a:gd name="T32" fmla="*/ 11206 w 34"/>
              <a:gd name="T33" fmla="*/ 50152 h 49"/>
              <a:gd name="T34" fmla="*/ 13540 w 34"/>
              <a:gd name="T35" fmla="*/ 53651 h 49"/>
              <a:gd name="T36" fmla="*/ 15875 w 34"/>
              <a:gd name="T37" fmla="*/ 57150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5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28575 w 60"/>
              <a:gd name="T1" fmla="*/ 0 h 74"/>
              <a:gd name="T2" fmla="*/ 26670 w 60"/>
              <a:gd name="T3" fmla="*/ 3089 h 74"/>
              <a:gd name="T4" fmla="*/ 24289 w 60"/>
              <a:gd name="T5" fmla="*/ 7723 h 74"/>
              <a:gd name="T6" fmla="*/ 22860 w 60"/>
              <a:gd name="T7" fmla="*/ 11584 h 74"/>
              <a:gd name="T8" fmla="*/ 21908 w 60"/>
              <a:gd name="T9" fmla="*/ 16218 h 74"/>
              <a:gd name="T10" fmla="*/ 19526 w 60"/>
              <a:gd name="T11" fmla="*/ 23941 h 74"/>
              <a:gd name="T12" fmla="*/ 17621 w 60"/>
              <a:gd name="T13" fmla="*/ 32436 h 74"/>
              <a:gd name="T14" fmla="*/ 16669 w 60"/>
              <a:gd name="T15" fmla="*/ 36298 h 74"/>
              <a:gd name="T16" fmla="*/ 15240 w 60"/>
              <a:gd name="T17" fmla="*/ 39387 h 74"/>
              <a:gd name="T18" fmla="*/ 13811 w 60"/>
              <a:gd name="T19" fmla="*/ 43249 h 74"/>
              <a:gd name="T20" fmla="*/ 11906 w 60"/>
              <a:gd name="T21" fmla="*/ 46338 h 74"/>
              <a:gd name="T22" fmla="*/ 9525 w 60"/>
              <a:gd name="T23" fmla="*/ 50199 h 74"/>
              <a:gd name="T24" fmla="*/ 7144 w 60"/>
              <a:gd name="T25" fmla="*/ 53289 h 74"/>
              <a:gd name="T26" fmla="*/ 3810 w 60"/>
              <a:gd name="T27" fmla="*/ 55605 h 74"/>
              <a:gd name="T28" fmla="*/ 0 w 60"/>
              <a:gd name="T29" fmla="*/ 57150 h 74"/>
              <a:gd name="T30" fmla="*/ 2381 w 60"/>
              <a:gd name="T31" fmla="*/ 46338 h 74"/>
              <a:gd name="T32" fmla="*/ 5715 w 60"/>
              <a:gd name="T33" fmla="*/ 36298 h 74"/>
              <a:gd name="T34" fmla="*/ 9049 w 60"/>
              <a:gd name="T35" fmla="*/ 26258 h 74"/>
              <a:gd name="T36" fmla="*/ 12859 w 60"/>
              <a:gd name="T37" fmla="*/ 17763 h 74"/>
              <a:gd name="T38" fmla="*/ 17145 w 60"/>
              <a:gd name="T39" fmla="*/ 10812 h 74"/>
              <a:gd name="T40" fmla="*/ 20479 w 60"/>
              <a:gd name="T41" fmla="*/ 4634 h 74"/>
              <a:gd name="T42" fmla="*/ 22860 w 60"/>
              <a:gd name="T43" fmla="*/ 2317 h 74"/>
              <a:gd name="T44" fmla="*/ 24765 w 60"/>
              <a:gd name="T45" fmla="*/ 772 h 74"/>
              <a:gd name="T46" fmla="*/ 26670 w 60"/>
              <a:gd name="T47" fmla="*/ 0 h 74"/>
              <a:gd name="T48" fmla="*/ 28575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6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6586 w 47"/>
              <a:gd name="T1" fmla="*/ 10724 h 45"/>
              <a:gd name="T2" fmla="*/ 11146 w 47"/>
              <a:gd name="T3" fmla="*/ 10724 h 45"/>
              <a:gd name="T4" fmla="*/ 14186 w 47"/>
              <a:gd name="T5" fmla="*/ 8043 h 45"/>
              <a:gd name="T6" fmla="*/ 16212 w 47"/>
              <a:gd name="T7" fmla="*/ 6703 h 45"/>
              <a:gd name="T8" fmla="*/ 17732 w 47"/>
              <a:gd name="T9" fmla="*/ 4022 h 45"/>
              <a:gd name="T10" fmla="*/ 18746 w 47"/>
              <a:gd name="T11" fmla="*/ 1341 h 45"/>
              <a:gd name="T12" fmla="*/ 19759 w 47"/>
              <a:gd name="T13" fmla="*/ 0 h 45"/>
              <a:gd name="T14" fmla="*/ 21785 w 47"/>
              <a:gd name="T15" fmla="*/ 1341 h 45"/>
              <a:gd name="T16" fmla="*/ 23812 w 47"/>
              <a:gd name="T17" fmla="*/ 2681 h 45"/>
              <a:gd name="T18" fmla="*/ 23305 w 47"/>
              <a:gd name="T19" fmla="*/ 9384 h 45"/>
              <a:gd name="T20" fmla="*/ 23305 w 47"/>
              <a:gd name="T21" fmla="*/ 14746 h 45"/>
              <a:gd name="T22" fmla="*/ 22292 w 47"/>
              <a:gd name="T23" fmla="*/ 20108 h 45"/>
              <a:gd name="T24" fmla="*/ 21785 w 47"/>
              <a:gd name="T25" fmla="*/ 25471 h 45"/>
              <a:gd name="T26" fmla="*/ 18746 w 47"/>
              <a:gd name="T27" fmla="*/ 34854 h 45"/>
              <a:gd name="T28" fmla="*/ 15199 w 47"/>
              <a:gd name="T29" fmla="*/ 42898 h 45"/>
              <a:gd name="T30" fmla="*/ 12159 w 47"/>
              <a:gd name="T31" fmla="*/ 50941 h 45"/>
              <a:gd name="T32" fmla="*/ 8106 w 47"/>
              <a:gd name="T33" fmla="*/ 56303 h 45"/>
              <a:gd name="T34" fmla="*/ 3546 w 47"/>
              <a:gd name="T35" fmla="*/ 60325 h 45"/>
              <a:gd name="T36" fmla="*/ 0 w 47"/>
              <a:gd name="T37" fmla="*/ 60325 h 45"/>
              <a:gd name="T38" fmla="*/ 1013 w 47"/>
              <a:gd name="T39" fmla="*/ 50941 h 45"/>
              <a:gd name="T40" fmla="*/ 3040 w 47"/>
              <a:gd name="T41" fmla="*/ 34854 h 45"/>
              <a:gd name="T42" fmla="*/ 5573 w 47"/>
              <a:gd name="T43" fmla="*/ 20108 h 45"/>
              <a:gd name="T44" fmla="*/ 6586 w 47"/>
              <a:gd name="T45" fmla="*/ 10724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7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1465 w 26"/>
              <a:gd name="T1" fmla="*/ 57150 h 36"/>
              <a:gd name="T2" fmla="*/ 1221 w 26"/>
              <a:gd name="T3" fmla="*/ 47625 h 36"/>
              <a:gd name="T4" fmla="*/ 733 w 26"/>
              <a:gd name="T5" fmla="*/ 31750 h 36"/>
              <a:gd name="T6" fmla="*/ 244 w 26"/>
              <a:gd name="T7" fmla="*/ 15875 h 36"/>
              <a:gd name="T8" fmla="*/ 0 w 26"/>
              <a:gd name="T9" fmla="*/ 0 h 36"/>
              <a:gd name="T10" fmla="*/ 6350 w 26"/>
              <a:gd name="T11" fmla="*/ 0 h 36"/>
              <a:gd name="T12" fmla="*/ 6106 w 26"/>
              <a:gd name="T13" fmla="*/ 19050 h 36"/>
              <a:gd name="T14" fmla="*/ 5862 w 26"/>
              <a:gd name="T15" fmla="*/ 36513 h 36"/>
              <a:gd name="T16" fmla="*/ 5617 w 26"/>
              <a:gd name="T17" fmla="*/ 42863 h 36"/>
              <a:gd name="T18" fmla="*/ 5617 w 26"/>
              <a:gd name="T19" fmla="*/ 49213 h 36"/>
              <a:gd name="T20" fmla="*/ 5862 w 26"/>
              <a:gd name="T21" fmla="*/ 53975 h 36"/>
              <a:gd name="T22" fmla="*/ 6350 w 26"/>
              <a:gd name="T23" fmla="*/ 57150 h 36"/>
              <a:gd name="T24" fmla="*/ 1465 w 26"/>
              <a:gd name="T25" fmla="*/ 57150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18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11210 w 405"/>
              <a:gd name="T1" fmla="*/ 85157 h 302"/>
              <a:gd name="T2" fmla="*/ 12073 w 405"/>
              <a:gd name="T3" fmla="*/ 82003 h 302"/>
              <a:gd name="T4" fmla="*/ 12935 w 405"/>
              <a:gd name="T5" fmla="*/ 80952 h 302"/>
              <a:gd name="T6" fmla="*/ 12073 w 405"/>
              <a:gd name="T7" fmla="*/ 79375 h 302"/>
              <a:gd name="T8" fmla="*/ 7761 w 405"/>
              <a:gd name="T9" fmla="*/ 75170 h 302"/>
              <a:gd name="T10" fmla="*/ 2587 w 405"/>
              <a:gd name="T11" fmla="*/ 66759 h 302"/>
              <a:gd name="T12" fmla="*/ 862 w 405"/>
              <a:gd name="T13" fmla="*/ 60977 h 302"/>
              <a:gd name="T14" fmla="*/ 2156 w 405"/>
              <a:gd name="T15" fmla="*/ 58874 h 302"/>
              <a:gd name="T16" fmla="*/ 2587 w 405"/>
              <a:gd name="T17" fmla="*/ 54669 h 302"/>
              <a:gd name="T18" fmla="*/ 7330 w 405"/>
              <a:gd name="T19" fmla="*/ 50989 h 302"/>
              <a:gd name="T20" fmla="*/ 14660 w 405"/>
              <a:gd name="T21" fmla="*/ 48887 h 302"/>
              <a:gd name="T22" fmla="*/ 20265 w 405"/>
              <a:gd name="T23" fmla="*/ 46258 h 302"/>
              <a:gd name="T24" fmla="*/ 24577 w 405"/>
              <a:gd name="T25" fmla="*/ 43104 h 302"/>
              <a:gd name="T26" fmla="*/ 28889 w 405"/>
              <a:gd name="T27" fmla="*/ 36796 h 302"/>
              <a:gd name="T28" fmla="*/ 32338 w 405"/>
              <a:gd name="T29" fmla="*/ 27334 h 302"/>
              <a:gd name="T30" fmla="*/ 36219 w 405"/>
              <a:gd name="T31" fmla="*/ 24706 h 302"/>
              <a:gd name="T32" fmla="*/ 40961 w 405"/>
              <a:gd name="T33" fmla="*/ 27334 h 302"/>
              <a:gd name="T34" fmla="*/ 50447 w 405"/>
              <a:gd name="T35" fmla="*/ 28386 h 302"/>
              <a:gd name="T36" fmla="*/ 72868 w 405"/>
              <a:gd name="T37" fmla="*/ 24180 h 302"/>
              <a:gd name="T38" fmla="*/ 91409 w 405"/>
              <a:gd name="T39" fmla="*/ 22603 h 302"/>
              <a:gd name="T40" fmla="*/ 100894 w 405"/>
              <a:gd name="T41" fmla="*/ 21552 h 302"/>
              <a:gd name="T42" fmla="*/ 113830 w 405"/>
              <a:gd name="T43" fmla="*/ 18398 h 302"/>
              <a:gd name="T44" fmla="*/ 137113 w 405"/>
              <a:gd name="T45" fmla="*/ 8936 h 302"/>
              <a:gd name="T46" fmla="*/ 154791 w 405"/>
              <a:gd name="T47" fmla="*/ 2103 h 302"/>
              <a:gd name="T48" fmla="*/ 160396 w 405"/>
              <a:gd name="T49" fmla="*/ 1577 h 302"/>
              <a:gd name="T50" fmla="*/ 166002 w 405"/>
              <a:gd name="T51" fmla="*/ 1577 h 302"/>
              <a:gd name="T52" fmla="*/ 171607 w 405"/>
              <a:gd name="T53" fmla="*/ 526 h 302"/>
              <a:gd name="T54" fmla="*/ 170313 w 405"/>
              <a:gd name="T55" fmla="*/ 4205 h 302"/>
              <a:gd name="T56" fmla="*/ 155222 w 405"/>
              <a:gd name="T57" fmla="*/ 21552 h 302"/>
              <a:gd name="T58" fmla="*/ 148323 w 405"/>
              <a:gd name="T59" fmla="*/ 29963 h 302"/>
              <a:gd name="T60" fmla="*/ 146168 w 405"/>
              <a:gd name="T61" fmla="*/ 33642 h 302"/>
              <a:gd name="T62" fmla="*/ 146168 w 405"/>
              <a:gd name="T63" fmla="*/ 50464 h 302"/>
              <a:gd name="T64" fmla="*/ 145305 w 405"/>
              <a:gd name="T65" fmla="*/ 78324 h 302"/>
              <a:gd name="T66" fmla="*/ 144443 w 405"/>
              <a:gd name="T67" fmla="*/ 94619 h 302"/>
              <a:gd name="T68" fmla="*/ 140562 w 405"/>
              <a:gd name="T69" fmla="*/ 104081 h 302"/>
              <a:gd name="T70" fmla="*/ 131508 w 405"/>
              <a:gd name="T71" fmla="*/ 110389 h 302"/>
              <a:gd name="T72" fmla="*/ 114261 w 405"/>
              <a:gd name="T73" fmla="*/ 119325 h 302"/>
              <a:gd name="T74" fmla="*/ 45704 w 405"/>
              <a:gd name="T75" fmla="*/ 158750 h 302"/>
              <a:gd name="T76" fmla="*/ 24577 w 405"/>
              <a:gd name="T77" fmla="*/ 136672 h 302"/>
              <a:gd name="T78" fmla="*/ 30182 w 405"/>
              <a:gd name="T79" fmla="*/ 119851 h 302"/>
              <a:gd name="T80" fmla="*/ 34925 w 405"/>
              <a:gd name="T81" fmla="*/ 109863 h 302"/>
              <a:gd name="T82" fmla="*/ 37081 w 405"/>
              <a:gd name="T83" fmla="*/ 90414 h 302"/>
              <a:gd name="T84" fmla="*/ 30613 w 405"/>
              <a:gd name="T85" fmla="*/ 90940 h 302"/>
              <a:gd name="T86" fmla="*/ 24577 w 405"/>
              <a:gd name="T87" fmla="*/ 88837 h 302"/>
              <a:gd name="T88" fmla="*/ 17678 w 405"/>
              <a:gd name="T89" fmla="*/ 86734 h 302"/>
              <a:gd name="T90" fmla="*/ 11210 w 405"/>
              <a:gd name="T91" fmla="*/ 87260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19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42862 w 100"/>
              <a:gd name="T1" fmla="*/ 512 h 155"/>
              <a:gd name="T2" fmla="*/ 42862 w 100"/>
              <a:gd name="T3" fmla="*/ 15363 h 155"/>
              <a:gd name="T4" fmla="*/ 42862 w 100"/>
              <a:gd name="T5" fmla="*/ 28165 h 155"/>
              <a:gd name="T6" fmla="*/ 42862 w 100"/>
              <a:gd name="T7" fmla="*/ 39944 h 155"/>
              <a:gd name="T8" fmla="*/ 42862 w 100"/>
              <a:gd name="T9" fmla="*/ 50698 h 155"/>
              <a:gd name="T10" fmla="*/ 42005 w 100"/>
              <a:gd name="T11" fmla="*/ 55819 h 155"/>
              <a:gd name="T12" fmla="*/ 40290 w 100"/>
              <a:gd name="T13" fmla="*/ 60427 h 155"/>
              <a:gd name="T14" fmla="*/ 38147 w 100"/>
              <a:gd name="T15" fmla="*/ 65548 h 155"/>
              <a:gd name="T16" fmla="*/ 35147 w 100"/>
              <a:gd name="T17" fmla="*/ 70157 h 155"/>
              <a:gd name="T18" fmla="*/ 31289 w 100"/>
              <a:gd name="T19" fmla="*/ 73742 h 155"/>
              <a:gd name="T20" fmla="*/ 26574 w 100"/>
              <a:gd name="T21" fmla="*/ 76815 h 155"/>
              <a:gd name="T22" fmla="*/ 24431 w 100"/>
              <a:gd name="T23" fmla="*/ 77839 h 155"/>
              <a:gd name="T24" fmla="*/ 21860 w 100"/>
              <a:gd name="T25" fmla="*/ 78863 h 155"/>
              <a:gd name="T26" fmla="*/ 19717 w 100"/>
              <a:gd name="T27" fmla="*/ 79375 h 155"/>
              <a:gd name="T28" fmla="*/ 16716 w 100"/>
              <a:gd name="T29" fmla="*/ 79375 h 155"/>
              <a:gd name="T30" fmla="*/ 15002 w 100"/>
              <a:gd name="T31" fmla="*/ 78863 h 155"/>
              <a:gd name="T32" fmla="*/ 12859 w 100"/>
              <a:gd name="T33" fmla="*/ 78351 h 155"/>
              <a:gd name="T34" fmla="*/ 11144 w 100"/>
              <a:gd name="T35" fmla="*/ 77327 h 155"/>
              <a:gd name="T36" fmla="*/ 9430 w 100"/>
              <a:gd name="T37" fmla="*/ 76302 h 155"/>
              <a:gd name="T38" fmla="*/ 6429 w 100"/>
              <a:gd name="T39" fmla="*/ 72718 h 155"/>
              <a:gd name="T40" fmla="*/ 3858 w 100"/>
              <a:gd name="T41" fmla="*/ 68621 h 155"/>
              <a:gd name="T42" fmla="*/ 2143 w 100"/>
              <a:gd name="T43" fmla="*/ 63500 h 155"/>
              <a:gd name="T44" fmla="*/ 857 w 100"/>
              <a:gd name="T45" fmla="*/ 57867 h 155"/>
              <a:gd name="T46" fmla="*/ 0 w 100"/>
              <a:gd name="T47" fmla="*/ 52746 h 155"/>
              <a:gd name="T48" fmla="*/ 0 w 100"/>
              <a:gd name="T49" fmla="*/ 47625 h 155"/>
              <a:gd name="T50" fmla="*/ 0 w 100"/>
              <a:gd name="T51" fmla="*/ 39431 h 155"/>
              <a:gd name="T52" fmla="*/ 0 w 100"/>
              <a:gd name="T53" fmla="*/ 33286 h 155"/>
              <a:gd name="T54" fmla="*/ 0 w 100"/>
              <a:gd name="T55" fmla="*/ 28677 h 155"/>
              <a:gd name="T56" fmla="*/ 0 w 100"/>
              <a:gd name="T57" fmla="*/ 25605 h 155"/>
              <a:gd name="T58" fmla="*/ 6429 w 100"/>
              <a:gd name="T59" fmla="*/ 25605 h 155"/>
              <a:gd name="T60" fmla="*/ 11144 w 100"/>
              <a:gd name="T61" fmla="*/ 25605 h 155"/>
              <a:gd name="T62" fmla="*/ 11144 w 100"/>
              <a:gd name="T63" fmla="*/ 20484 h 155"/>
              <a:gd name="T64" fmla="*/ 11573 w 100"/>
              <a:gd name="T65" fmla="*/ 15875 h 155"/>
              <a:gd name="T66" fmla="*/ 12430 w 100"/>
              <a:gd name="T67" fmla="*/ 11778 h 155"/>
              <a:gd name="T68" fmla="*/ 13287 w 100"/>
              <a:gd name="T69" fmla="*/ 8706 h 155"/>
              <a:gd name="T70" fmla="*/ 15002 w 100"/>
              <a:gd name="T71" fmla="*/ 6145 h 155"/>
              <a:gd name="T72" fmla="*/ 16716 w 100"/>
              <a:gd name="T73" fmla="*/ 3585 h 155"/>
              <a:gd name="T74" fmla="*/ 18002 w 100"/>
              <a:gd name="T75" fmla="*/ 2048 h 155"/>
              <a:gd name="T76" fmla="*/ 20574 w 100"/>
              <a:gd name="T77" fmla="*/ 1024 h 155"/>
              <a:gd name="T78" fmla="*/ 25289 w 100"/>
              <a:gd name="T79" fmla="*/ 0 h 155"/>
              <a:gd name="T80" fmla="*/ 30432 w 100"/>
              <a:gd name="T81" fmla="*/ 0 h 155"/>
              <a:gd name="T82" fmla="*/ 36004 w 100"/>
              <a:gd name="T83" fmla="*/ 0 h 155"/>
              <a:gd name="T84" fmla="*/ 42862 w 100"/>
              <a:gd name="T85" fmla="*/ 512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420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</p:grpSpPr>
        <p:sp>
          <p:nvSpPr>
            <p:cNvPr id="2432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3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4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5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36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21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27880 w 226"/>
              <a:gd name="T1" fmla="*/ 121721 h 237"/>
              <a:gd name="T2" fmla="*/ 30092 w 226"/>
              <a:gd name="T3" fmla="*/ 122237 h 237"/>
              <a:gd name="T4" fmla="*/ 33190 w 226"/>
              <a:gd name="T5" fmla="*/ 121205 h 237"/>
              <a:gd name="T6" fmla="*/ 36730 w 226"/>
              <a:gd name="T7" fmla="*/ 120690 h 237"/>
              <a:gd name="T8" fmla="*/ 39386 w 226"/>
              <a:gd name="T9" fmla="*/ 118627 h 237"/>
              <a:gd name="T10" fmla="*/ 42483 w 226"/>
              <a:gd name="T11" fmla="*/ 115016 h 237"/>
              <a:gd name="T12" fmla="*/ 43811 w 226"/>
              <a:gd name="T13" fmla="*/ 110374 h 237"/>
              <a:gd name="T14" fmla="*/ 54432 w 226"/>
              <a:gd name="T15" fmla="*/ 107795 h 237"/>
              <a:gd name="T16" fmla="*/ 73461 w 226"/>
              <a:gd name="T17" fmla="*/ 105732 h 237"/>
              <a:gd name="T18" fmla="*/ 86294 w 226"/>
              <a:gd name="T19" fmla="*/ 102122 h 237"/>
              <a:gd name="T20" fmla="*/ 92490 w 226"/>
              <a:gd name="T21" fmla="*/ 98512 h 237"/>
              <a:gd name="T22" fmla="*/ 97358 w 226"/>
              <a:gd name="T23" fmla="*/ 93354 h 237"/>
              <a:gd name="T24" fmla="*/ 99570 w 226"/>
              <a:gd name="T25" fmla="*/ 86649 h 237"/>
              <a:gd name="T26" fmla="*/ 100013 w 226"/>
              <a:gd name="T27" fmla="*/ 78912 h 237"/>
              <a:gd name="T28" fmla="*/ 98685 w 226"/>
              <a:gd name="T29" fmla="*/ 72208 h 237"/>
              <a:gd name="T30" fmla="*/ 95145 w 226"/>
              <a:gd name="T31" fmla="*/ 63439 h 237"/>
              <a:gd name="T32" fmla="*/ 89835 w 226"/>
              <a:gd name="T33" fmla="*/ 51577 h 237"/>
              <a:gd name="T34" fmla="*/ 86737 w 226"/>
              <a:gd name="T35" fmla="*/ 43325 h 237"/>
              <a:gd name="T36" fmla="*/ 85409 w 226"/>
              <a:gd name="T37" fmla="*/ 38167 h 237"/>
              <a:gd name="T38" fmla="*/ 86294 w 226"/>
              <a:gd name="T39" fmla="*/ 30430 h 237"/>
              <a:gd name="T40" fmla="*/ 88507 w 226"/>
              <a:gd name="T41" fmla="*/ 22178 h 237"/>
              <a:gd name="T42" fmla="*/ 94260 w 226"/>
              <a:gd name="T43" fmla="*/ 12894 h 237"/>
              <a:gd name="T44" fmla="*/ 94260 w 226"/>
              <a:gd name="T45" fmla="*/ 7221 h 237"/>
              <a:gd name="T46" fmla="*/ 84524 w 226"/>
              <a:gd name="T47" fmla="*/ 3610 h 237"/>
              <a:gd name="T48" fmla="*/ 68150 w 226"/>
              <a:gd name="T49" fmla="*/ 1032 h 237"/>
              <a:gd name="T50" fmla="*/ 8851 w 226"/>
              <a:gd name="T51" fmla="*/ 3095 h 237"/>
              <a:gd name="T52" fmla="*/ 7966 w 226"/>
              <a:gd name="T53" fmla="*/ 15989 h 237"/>
              <a:gd name="T54" fmla="*/ 4425 w 226"/>
              <a:gd name="T55" fmla="*/ 27851 h 237"/>
              <a:gd name="T56" fmla="*/ 1328 w 226"/>
              <a:gd name="T57" fmla="*/ 40746 h 237"/>
              <a:gd name="T58" fmla="*/ 0 w 226"/>
              <a:gd name="T59" fmla="*/ 57250 h 237"/>
              <a:gd name="T60" fmla="*/ 1328 w 226"/>
              <a:gd name="T61" fmla="*/ 67050 h 237"/>
              <a:gd name="T62" fmla="*/ 4425 w 226"/>
              <a:gd name="T63" fmla="*/ 75302 h 237"/>
              <a:gd name="T64" fmla="*/ 13276 w 226"/>
              <a:gd name="T65" fmla="*/ 89228 h 237"/>
              <a:gd name="T66" fmla="*/ 22569 w 226"/>
              <a:gd name="T67" fmla="*/ 102638 h 237"/>
              <a:gd name="T68" fmla="*/ 25225 w 226"/>
              <a:gd name="T69" fmla="*/ 111406 h 237"/>
              <a:gd name="T70" fmla="*/ 26995 w 226"/>
              <a:gd name="T71" fmla="*/ 120690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2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124864 w 478"/>
              <a:gd name="T1" fmla="*/ 57152 h 875"/>
              <a:gd name="T2" fmla="*/ 108767 w 478"/>
              <a:gd name="T3" fmla="*/ 72357 h 875"/>
              <a:gd name="T4" fmla="*/ 86578 w 478"/>
              <a:gd name="T5" fmla="*/ 103293 h 875"/>
              <a:gd name="T6" fmla="*/ 86143 w 478"/>
              <a:gd name="T7" fmla="*/ 111682 h 875"/>
              <a:gd name="T8" fmla="*/ 89624 w 478"/>
              <a:gd name="T9" fmla="*/ 125315 h 875"/>
              <a:gd name="T10" fmla="*/ 96150 w 478"/>
              <a:gd name="T11" fmla="*/ 138947 h 875"/>
              <a:gd name="T12" fmla="*/ 104416 w 478"/>
              <a:gd name="T13" fmla="*/ 151007 h 875"/>
              <a:gd name="T14" fmla="*/ 112682 w 478"/>
              <a:gd name="T15" fmla="*/ 157823 h 875"/>
              <a:gd name="T16" fmla="*/ 121384 w 478"/>
              <a:gd name="T17" fmla="*/ 172504 h 875"/>
              <a:gd name="T18" fmla="*/ 128345 w 478"/>
              <a:gd name="T19" fmla="*/ 189283 h 875"/>
              <a:gd name="T20" fmla="*/ 132695 w 478"/>
              <a:gd name="T21" fmla="*/ 193477 h 875"/>
              <a:gd name="T22" fmla="*/ 190559 w 478"/>
              <a:gd name="T23" fmla="*/ 261640 h 875"/>
              <a:gd name="T24" fmla="*/ 204917 w 478"/>
              <a:gd name="T25" fmla="*/ 308830 h 875"/>
              <a:gd name="T26" fmla="*/ 207962 w 478"/>
              <a:gd name="T27" fmla="*/ 339241 h 875"/>
              <a:gd name="T28" fmla="*/ 207092 w 478"/>
              <a:gd name="T29" fmla="*/ 360214 h 875"/>
              <a:gd name="T30" fmla="*/ 207962 w 478"/>
              <a:gd name="T31" fmla="*/ 371225 h 875"/>
              <a:gd name="T32" fmla="*/ 194475 w 478"/>
              <a:gd name="T33" fmla="*/ 376468 h 875"/>
              <a:gd name="T34" fmla="*/ 182728 w 478"/>
              <a:gd name="T35" fmla="*/ 384333 h 875"/>
              <a:gd name="T36" fmla="*/ 170111 w 478"/>
              <a:gd name="T37" fmla="*/ 396393 h 875"/>
              <a:gd name="T38" fmla="*/ 158799 w 478"/>
              <a:gd name="T39" fmla="*/ 413696 h 875"/>
              <a:gd name="T40" fmla="*/ 151403 w 478"/>
              <a:gd name="T41" fmla="*/ 411598 h 875"/>
              <a:gd name="T42" fmla="*/ 138786 w 478"/>
              <a:gd name="T43" fmla="*/ 413696 h 875"/>
              <a:gd name="T44" fmla="*/ 136176 w 478"/>
              <a:gd name="T45" fmla="*/ 421561 h 875"/>
              <a:gd name="T46" fmla="*/ 125734 w 478"/>
              <a:gd name="T47" fmla="*/ 439388 h 875"/>
              <a:gd name="T48" fmla="*/ 111377 w 478"/>
              <a:gd name="T49" fmla="*/ 455118 h 875"/>
              <a:gd name="T50" fmla="*/ 103981 w 478"/>
              <a:gd name="T51" fmla="*/ 458788 h 875"/>
              <a:gd name="T52" fmla="*/ 100936 w 478"/>
              <a:gd name="T53" fmla="*/ 455118 h 875"/>
              <a:gd name="T54" fmla="*/ 97890 w 478"/>
              <a:gd name="T55" fmla="*/ 442534 h 875"/>
              <a:gd name="T56" fmla="*/ 100500 w 478"/>
              <a:gd name="T57" fmla="*/ 419463 h 875"/>
              <a:gd name="T58" fmla="*/ 110072 w 478"/>
              <a:gd name="T59" fmla="*/ 406355 h 875"/>
              <a:gd name="T60" fmla="*/ 120514 w 478"/>
              <a:gd name="T61" fmla="*/ 398490 h 875"/>
              <a:gd name="T62" fmla="*/ 128345 w 478"/>
              <a:gd name="T63" fmla="*/ 394820 h 875"/>
              <a:gd name="T64" fmla="*/ 132695 w 478"/>
              <a:gd name="T65" fmla="*/ 389577 h 875"/>
              <a:gd name="T66" fmla="*/ 136611 w 478"/>
              <a:gd name="T67" fmla="*/ 374371 h 875"/>
              <a:gd name="T68" fmla="*/ 143572 w 478"/>
              <a:gd name="T69" fmla="*/ 359690 h 875"/>
              <a:gd name="T70" fmla="*/ 158799 w 478"/>
              <a:gd name="T71" fmla="*/ 337144 h 875"/>
              <a:gd name="T72" fmla="*/ 161410 w 478"/>
              <a:gd name="T73" fmla="*/ 281040 h 875"/>
              <a:gd name="T74" fmla="*/ 158364 w 478"/>
              <a:gd name="T75" fmla="*/ 249056 h 875"/>
              <a:gd name="T76" fmla="*/ 148358 w 478"/>
              <a:gd name="T77" fmla="*/ 223889 h 875"/>
              <a:gd name="T78" fmla="*/ 129215 w 478"/>
              <a:gd name="T79" fmla="*/ 197672 h 875"/>
              <a:gd name="T80" fmla="*/ 95280 w 478"/>
              <a:gd name="T81" fmla="*/ 161493 h 875"/>
              <a:gd name="T82" fmla="*/ 70046 w 478"/>
              <a:gd name="T83" fmla="*/ 133704 h 875"/>
              <a:gd name="T84" fmla="*/ 46987 w 478"/>
              <a:gd name="T85" fmla="*/ 103817 h 875"/>
              <a:gd name="T86" fmla="*/ 31325 w 478"/>
              <a:gd name="T87" fmla="*/ 76552 h 875"/>
              <a:gd name="T88" fmla="*/ 18273 w 478"/>
              <a:gd name="T89" fmla="*/ 54530 h 875"/>
              <a:gd name="T90" fmla="*/ 20013 w 478"/>
              <a:gd name="T91" fmla="*/ 21497 h 875"/>
              <a:gd name="T92" fmla="*/ 56124 w 478"/>
              <a:gd name="T93" fmla="*/ 9962 h 875"/>
              <a:gd name="T94" fmla="*/ 64390 w 478"/>
              <a:gd name="T95" fmla="*/ 2622 h 875"/>
              <a:gd name="T96" fmla="*/ 76137 w 478"/>
              <a:gd name="T97" fmla="*/ 8389 h 875"/>
              <a:gd name="T98" fmla="*/ 96150 w 478"/>
              <a:gd name="T99" fmla="*/ 18352 h 875"/>
              <a:gd name="T100" fmla="*/ 117033 w 478"/>
              <a:gd name="T101" fmla="*/ 35130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23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25400 w 59"/>
              <a:gd name="T1" fmla="*/ 11061 h 31"/>
              <a:gd name="T2" fmla="*/ 24539 w 59"/>
              <a:gd name="T3" fmla="*/ 20279 h 31"/>
              <a:gd name="T4" fmla="*/ 22817 w 59"/>
              <a:gd name="T5" fmla="*/ 27653 h 31"/>
              <a:gd name="T6" fmla="*/ 21095 w 59"/>
              <a:gd name="T7" fmla="*/ 35027 h 31"/>
              <a:gd name="T8" fmla="*/ 19373 w 59"/>
              <a:gd name="T9" fmla="*/ 44245 h 31"/>
              <a:gd name="T10" fmla="*/ 17220 w 59"/>
              <a:gd name="T11" fmla="*/ 49776 h 31"/>
              <a:gd name="T12" fmla="*/ 15498 w 59"/>
              <a:gd name="T13" fmla="*/ 53463 h 31"/>
              <a:gd name="T14" fmla="*/ 12915 w 59"/>
              <a:gd name="T15" fmla="*/ 57150 h 31"/>
              <a:gd name="T16" fmla="*/ 11193 w 59"/>
              <a:gd name="T17" fmla="*/ 57150 h 31"/>
              <a:gd name="T18" fmla="*/ 9041 w 59"/>
              <a:gd name="T19" fmla="*/ 57150 h 31"/>
              <a:gd name="T20" fmla="*/ 7319 w 59"/>
              <a:gd name="T21" fmla="*/ 55306 h 31"/>
              <a:gd name="T22" fmla="*/ 6027 w 59"/>
              <a:gd name="T23" fmla="*/ 53463 h 31"/>
              <a:gd name="T24" fmla="*/ 4736 w 59"/>
              <a:gd name="T25" fmla="*/ 49776 h 31"/>
              <a:gd name="T26" fmla="*/ 1722 w 59"/>
              <a:gd name="T27" fmla="*/ 36871 h 31"/>
              <a:gd name="T28" fmla="*/ 0 w 59"/>
              <a:gd name="T29" fmla="*/ 22123 h 31"/>
              <a:gd name="T30" fmla="*/ 431 w 59"/>
              <a:gd name="T31" fmla="*/ 16592 h 31"/>
              <a:gd name="T32" fmla="*/ 1292 w 59"/>
              <a:gd name="T33" fmla="*/ 11061 h 31"/>
              <a:gd name="T34" fmla="*/ 2153 w 59"/>
              <a:gd name="T35" fmla="*/ 7374 h 31"/>
              <a:gd name="T36" fmla="*/ 3444 w 59"/>
              <a:gd name="T37" fmla="*/ 5531 h 31"/>
              <a:gd name="T38" fmla="*/ 6888 w 59"/>
              <a:gd name="T39" fmla="*/ 1844 h 31"/>
              <a:gd name="T40" fmla="*/ 10332 w 59"/>
              <a:gd name="T41" fmla="*/ 0 h 31"/>
              <a:gd name="T42" fmla="*/ 14637 w 59"/>
              <a:gd name="T43" fmla="*/ 0 h 31"/>
              <a:gd name="T44" fmla="*/ 18081 w 59"/>
              <a:gd name="T45" fmla="*/ 3687 h 31"/>
              <a:gd name="T46" fmla="*/ 21956 w 59"/>
              <a:gd name="T47" fmla="*/ 7374 h 31"/>
              <a:gd name="T48" fmla="*/ 25400 w 59"/>
              <a:gd name="T49" fmla="*/ 11061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24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87531 w 399"/>
              <a:gd name="T1" fmla="*/ 4192 h 518"/>
              <a:gd name="T2" fmla="*/ 88407 w 399"/>
              <a:gd name="T3" fmla="*/ 11529 h 518"/>
              <a:gd name="T4" fmla="*/ 91033 w 399"/>
              <a:gd name="T5" fmla="*/ 18866 h 518"/>
              <a:gd name="T6" fmla="*/ 93659 w 399"/>
              <a:gd name="T7" fmla="*/ 25679 h 518"/>
              <a:gd name="T8" fmla="*/ 98035 w 399"/>
              <a:gd name="T9" fmla="*/ 33016 h 518"/>
              <a:gd name="T10" fmla="*/ 102849 w 399"/>
              <a:gd name="T11" fmla="*/ 39304 h 518"/>
              <a:gd name="T12" fmla="*/ 108977 w 399"/>
              <a:gd name="T13" fmla="*/ 45069 h 518"/>
              <a:gd name="T14" fmla="*/ 115541 w 399"/>
              <a:gd name="T15" fmla="*/ 49786 h 518"/>
              <a:gd name="T16" fmla="*/ 138299 w 399"/>
              <a:gd name="T17" fmla="*/ 55550 h 518"/>
              <a:gd name="T18" fmla="*/ 159745 w 399"/>
              <a:gd name="T19" fmla="*/ 62363 h 518"/>
              <a:gd name="T20" fmla="*/ 166310 w 399"/>
              <a:gd name="T21" fmla="*/ 66555 h 518"/>
              <a:gd name="T22" fmla="*/ 171561 w 399"/>
              <a:gd name="T23" fmla="*/ 71796 h 518"/>
              <a:gd name="T24" fmla="*/ 174187 w 399"/>
              <a:gd name="T25" fmla="*/ 79133 h 518"/>
              <a:gd name="T26" fmla="*/ 174187 w 399"/>
              <a:gd name="T27" fmla="*/ 91186 h 518"/>
              <a:gd name="T28" fmla="*/ 170686 w 399"/>
              <a:gd name="T29" fmla="*/ 104812 h 518"/>
              <a:gd name="T30" fmla="*/ 161495 w 399"/>
              <a:gd name="T31" fmla="*/ 125250 h 518"/>
              <a:gd name="T32" fmla="*/ 150554 w 399"/>
              <a:gd name="T33" fmla="*/ 144640 h 518"/>
              <a:gd name="T34" fmla="*/ 143551 w 399"/>
              <a:gd name="T35" fmla="*/ 158790 h 518"/>
              <a:gd name="T36" fmla="*/ 137424 w 399"/>
              <a:gd name="T37" fmla="*/ 172939 h 518"/>
              <a:gd name="T38" fmla="*/ 134361 w 399"/>
              <a:gd name="T39" fmla="*/ 188661 h 518"/>
              <a:gd name="T40" fmla="*/ 129984 w 399"/>
              <a:gd name="T41" fmla="*/ 197570 h 518"/>
              <a:gd name="T42" fmla="*/ 117292 w 399"/>
              <a:gd name="T43" fmla="*/ 202810 h 518"/>
              <a:gd name="T44" fmla="*/ 107664 w 399"/>
              <a:gd name="T45" fmla="*/ 209099 h 518"/>
              <a:gd name="T46" fmla="*/ 102849 w 399"/>
              <a:gd name="T47" fmla="*/ 213816 h 518"/>
              <a:gd name="T48" fmla="*/ 99348 w 399"/>
              <a:gd name="T49" fmla="*/ 218532 h 518"/>
              <a:gd name="T50" fmla="*/ 98035 w 399"/>
              <a:gd name="T51" fmla="*/ 223773 h 518"/>
              <a:gd name="T52" fmla="*/ 93221 w 399"/>
              <a:gd name="T53" fmla="*/ 229537 h 518"/>
              <a:gd name="T54" fmla="*/ 82279 w 399"/>
              <a:gd name="T55" fmla="*/ 235826 h 518"/>
              <a:gd name="T56" fmla="*/ 75715 w 399"/>
              <a:gd name="T57" fmla="*/ 238970 h 518"/>
              <a:gd name="T58" fmla="*/ 72651 w 399"/>
              <a:gd name="T59" fmla="*/ 244735 h 518"/>
              <a:gd name="T60" fmla="*/ 69150 w 399"/>
              <a:gd name="T61" fmla="*/ 252072 h 518"/>
              <a:gd name="T62" fmla="*/ 63898 w 399"/>
              <a:gd name="T63" fmla="*/ 256788 h 518"/>
              <a:gd name="T64" fmla="*/ 57333 w 399"/>
              <a:gd name="T65" fmla="*/ 258885 h 518"/>
              <a:gd name="T66" fmla="*/ 44641 w 399"/>
              <a:gd name="T67" fmla="*/ 260981 h 518"/>
              <a:gd name="T68" fmla="*/ 31949 w 399"/>
              <a:gd name="T69" fmla="*/ 264125 h 518"/>
              <a:gd name="T70" fmla="*/ 24071 w 399"/>
              <a:gd name="T71" fmla="*/ 268318 h 518"/>
              <a:gd name="T72" fmla="*/ 20132 w 399"/>
              <a:gd name="T73" fmla="*/ 269366 h 518"/>
              <a:gd name="T74" fmla="*/ 18819 w 399"/>
              <a:gd name="T75" fmla="*/ 265173 h 518"/>
              <a:gd name="T76" fmla="*/ 16631 w 399"/>
              <a:gd name="T77" fmla="*/ 260457 h 518"/>
              <a:gd name="T78" fmla="*/ 14880 w 399"/>
              <a:gd name="T79" fmla="*/ 255216 h 518"/>
              <a:gd name="T80" fmla="*/ 14443 w 399"/>
              <a:gd name="T81" fmla="*/ 245259 h 518"/>
              <a:gd name="T82" fmla="*/ 12692 w 399"/>
              <a:gd name="T83" fmla="*/ 233206 h 518"/>
              <a:gd name="T84" fmla="*/ 7440 w 399"/>
              <a:gd name="T85" fmla="*/ 219056 h 518"/>
              <a:gd name="T86" fmla="*/ 0 w 399"/>
              <a:gd name="T87" fmla="*/ 187613 h 518"/>
              <a:gd name="T88" fmla="*/ 84905 w 399"/>
              <a:gd name="T89" fmla="*/ 96951 h 518"/>
              <a:gd name="T90" fmla="*/ 87531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5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100359 w 866"/>
              <a:gd name="T1" fmla="*/ 140751 h 740"/>
              <a:gd name="T2" fmla="*/ 106441 w 866"/>
              <a:gd name="T3" fmla="*/ 137623 h 740"/>
              <a:gd name="T4" fmla="*/ 118172 w 866"/>
              <a:gd name="T5" fmla="*/ 141794 h 740"/>
              <a:gd name="T6" fmla="*/ 284134 w 866"/>
              <a:gd name="T7" fmla="*/ 521 h 740"/>
              <a:gd name="T8" fmla="*/ 294995 w 866"/>
              <a:gd name="T9" fmla="*/ 3128 h 740"/>
              <a:gd name="T10" fmla="*/ 308897 w 866"/>
              <a:gd name="T11" fmla="*/ 10947 h 740"/>
              <a:gd name="T12" fmla="*/ 317152 w 866"/>
              <a:gd name="T13" fmla="*/ 18246 h 740"/>
              <a:gd name="T14" fmla="*/ 330186 w 866"/>
              <a:gd name="T15" fmla="*/ 29714 h 740"/>
              <a:gd name="T16" fmla="*/ 343654 w 866"/>
              <a:gd name="T17" fmla="*/ 30757 h 740"/>
              <a:gd name="T18" fmla="*/ 361032 w 866"/>
              <a:gd name="T19" fmla="*/ 22416 h 740"/>
              <a:gd name="T20" fmla="*/ 371025 w 866"/>
              <a:gd name="T21" fmla="*/ 86536 h 740"/>
              <a:gd name="T22" fmla="*/ 376238 w 866"/>
              <a:gd name="T23" fmla="*/ 106866 h 740"/>
              <a:gd name="T24" fmla="*/ 369287 w 866"/>
              <a:gd name="T25" fmla="*/ 156911 h 740"/>
              <a:gd name="T26" fmla="*/ 368418 w 866"/>
              <a:gd name="T27" fmla="*/ 196009 h 740"/>
              <a:gd name="T28" fmla="*/ 362335 w 866"/>
              <a:gd name="T29" fmla="*/ 219467 h 740"/>
              <a:gd name="T30" fmla="*/ 348433 w 866"/>
              <a:gd name="T31" fmla="*/ 243447 h 740"/>
              <a:gd name="T32" fmla="*/ 337572 w 866"/>
              <a:gd name="T33" fmla="*/ 260129 h 740"/>
              <a:gd name="T34" fmla="*/ 329317 w 866"/>
              <a:gd name="T35" fmla="*/ 295577 h 740"/>
              <a:gd name="T36" fmla="*/ 308897 w 866"/>
              <a:gd name="T37" fmla="*/ 327898 h 740"/>
              <a:gd name="T38" fmla="*/ 295429 w 866"/>
              <a:gd name="T39" fmla="*/ 336760 h 740"/>
              <a:gd name="T40" fmla="*/ 279789 w 866"/>
              <a:gd name="T41" fmla="*/ 332589 h 740"/>
              <a:gd name="T42" fmla="*/ 265452 w 866"/>
              <a:gd name="T43" fmla="*/ 325813 h 740"/>
              <a:gd name="T44" fmla="*/ 245902 w 866"/>
              <a:gd name="T45" fmla="*/ 329983 h 740"/>
              <a:gd name="T46" fmla="*/ 230261 w 866"/>
              <a:gd name="T47" fmla="*/ 343537 h 740"/>
              <a:gd name="T48" fmla="*/ 222006 w 866"/>
              <a:gd name="T49" fmla="*/ 354484 h 740"/>
              <a:gd name="T50" fmla="*/ 213317 w 866"/>
              <a:gd name="T51" fmla="*/ 356569 h 740"/>
              <a:gd name="T52" fmla="*/ 204194 w 866"/>
              <a:gd name="T53" fmla="*/ 348228 h 740"/>
              <a:gd name="T54" fmla="*/ 193767 w 866"/>
              <a:gd name="T55" fmla="*/ 333111 h 740"/>
              <a:gd name="T56" fmla="*/ 182906 w 866"/>
              <a:gd name="T57" fmla="*/ 331026 h 740"/>
              <a:gd name="T58" fmla="*/ 175954 w 866"/>
              <a:gd name="T59" fmla="*/ 337281 h 740"/>
              <a:gd name="T60" fmla="*/ 166831 w 866"/>
              <a:gd name="T61" fmla="*/ 339888 h 740"/>
              <a:gd name="T62" fmla="*/ 152059 w 866"/>
              <a:gd name="T63" fmla="*/ 332589 h 740"/>
              <a:gd name="T64" fmla="*/ 132943 w 866"/>
              <a:gd name="T65" fmla="*/ 316950 h 740"/>
              <a:gd name="T66" fmla="*/ 117737 w 866"/>
              <a:gd name="T67" fmla="*/ 314865 h 740"/>
              <a:gd name="T68" fmla="*/ 102966 w 866"/>
              <a:gd name="T69" fmla="*/ 323206 h 740"/>
              <a:gd name="T70" fmla="*/ 90801 w 866"/>
              <a:gd name="T71" fmla="*/ 340409 h 740"/>
              <a:gd name="T72" fmla="*/ 82546 w 866"/>
              <a:gd name="T73" fmla="*/ 360740 h 740"/>
              <a:gd name="T74" fmla="*/ 77333 w 866"/>
              <a:gd name="T75" fmla="*/ 374815 h 740"/>
              <a:gd name="T76" fmla="*/ 64734 w 866"/>
              <a:gd name="T77" fmla="*/ 365953 h 740"/>
              <a:gd name="T78" fmla="*/ 43445 w 866"/>
              <a:gd name="T79" fmla="*/ 385762 h 740"/>
              <a:gd name="T80" fmla="*/ 28674 w 866"/>
              <a:gd name="T81" fmla="*/ 364389 h 740"/>
              <a:gd name="T82" fmla="*/ 27805 w 866"/>
              <a:gd name="T83" fmla="*/ 335717 h 740"/>
              <a:gd name="T84" fmla="*/ 21723 w 866"/>
              <a:gd name="T85" fmla="*/ 319557 h 740"/>
              <a:gd name="T86" fmla="*/ 8689 w 866"/>
              <a:gd name="T87" fmla="*/ 306003 h 740"/>
              <a:gd name="T88" fmla="*/ 2172 w 866"/>
              <a:gd name="T89" fmla="*/ 290885 h 740"/>
              <a:gd name="T90" fmla="*/ 23026 w 866"/>
              <a:gd name="T91" fmla="*/ 276289 h 740"/>
              <a:gd name="T92" fmla="*/ 33019 w 866"/>
              <a:gd name="T93" fmla="*/ 270033 h 740"/>
              <a:gd name="T94" fmla="*/ 60389 w 866"/>
              <a:gd name="T95" fmla="*/ 265863 h 740"/>
              <a:gd name="T96" fmla="*/ 79071 w 866"/>
              <a:gd name="T97" fmla="*/ 260650 h 740"/>
              <a:gd name="T98" fmla="*/ 87325 w 866"/>
              <a:gd name="T99" fmla="*/ 247617 h 740"/>
              <a:gd name="T100" fmla="*/ 95146 w 866"/>
              <a:gd name="T101" fmla="*/ 221031 h 740"/>
              <a:gd name="T102" fmla="*/ 97318 w 866"/>
              <a:gd name="T103" fmla="*/ 191317 h 740"/>
              <a:gd name="T104" fmla="*/ 95146 w 866"/>
              <a:gd name="T105" fmla="*/ 166816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26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278945 w 697"/>
              <a:gd name="T1" fmla="*/ 27597 h 500"/>
              <a:gd name="T2" fmla="*/ 282819 w 697"/>
              <a:gd name="T3" fmla="*/ 83833 h 500"/>
              <a:gd name="T4" fmla="*/ 284541 w 697"/>
              <a:gd name="T5" fmla="*/ 86957 h 500"/>
              <a:gd name="T6" fmla="*/ 291429 w 697"/>
              <a:gd name="T7" fmla="*/ 92164 h 500"/>
              <a:gd name="T8" fmla="*/ 298747 w 697"/>
              <a:gd name="T9" fmla="*/ 98412 h 500"/>
              <a:gd name="T10" fmla="*/ 300038 w 697"/>
              <a:gd name="T11" fmla="*/ 103099 h 500"/>
              <a:gd name="T12" fmla="*/ 298747 w 697"/>
              <a:gd name="T13" fmla="*/ 109868 h 500"/>
              <a:gd name="T14" fmla="*/ 294872 w 697"/>
              <a:gd name="T15" fmla="*/ 112992 h 500"/>
              <a:gd name="T16" fmla="*/ 281958 w 697"/>
              <a:gd name="T17" fmla="*/ 113513 h 500"/>
              <a:gd name="T18" fmla="*/ 260435 w 697"/>
              <a:gd name="T19" fmla="*/ 118720 h 500"/>
              <a:gd name="T20" fmla="*/ 244077 w 697"/>
              <a:gd name="T21" fmla="*/ 130175 h 500"/>
              <a:gd name="T22" fmla="*/ 236328 w 697"/>
              <a:gd name="T23" fmla="*/ 139027 h 500"/>
              <a:gd name="T24" fmla="*/ 232024 w 697"/>
              <a:gd name="T25" fmla="*/ 149962 h 500"/>
              <a:gd name="T26" fmla="*/ 224275 w 697"/>
              <a:gd name="T27" fmla="*/ 157251 h 500"/>
              <a:gd name="T28" fmla="*/ 211361 w 697"/>
              <a:gd name="T29" fmla="*/ 168707 h 500"/>
              <a:gd name="T30" fmla="*/ 195864 w 697"/>
              <a:gd name="T31" fmla="*/ 183286 h 500"/>
              <a:gd name="T32" fmla="*/ 180798 w 697"/>
              <a:gd name="T33" fmla="*/ 192659 h 500"/>
              <a:gd name="T34" fmla="*/ 160135 w 697"/>
              <a:gd name="T35" fmla="*/ 196304 h 500"/>
              <a:gd name="T36" fmla="*/ 148082 w 697"/>
              <a:gd name="T37" fmla="*/ 197866 h 500"/>
              <a:gd name="T38" fmla="*/ 136029 w 697"/>
              <a:gd name="T39" fmla="*/ 206197 h 500"/>
              <a:gd name="T40" fmla="*/ 124836 w 697"/>
              <a:gd name="T41" fmla="*/ 217132 h 500"/>
              <a:gd name="T42" fmla="*/ 114075 w 697"/>
              <a:gd name="T43" fmla="*/ 221818 h 500"/>
              <a:gd name="T44" fmla="*/ 2152 w 697"/>
              <a:gd name="T45" fmla="*/ 258267 h 500"/>
              <a:gd name="T46" fmla="*/ 13775 w 697"/>
              <a:gd name="T47" fmla="*/ 253581 h 500"/>
              <a:gd name="T48" fmla="*/ 36590 w 697"/>
              <a:gd name="T49" fmla="*/ 246291 h 500"/>
              <a:gd name="T50" fmla="*/ 40034 w 697"/>
              <a:gd name="T51" fmla="*/ 239001 h 500"/>
              <a:gd name="T52" fmla="*/ 42617 w 697"/>
              <a:gd name="T53" fmla="*/ 228067 h 500"/>
              <a:gd name="T54" fmla="*/ 51226 w 697"/>
              <a:gd name="T55" fmla="*/ 219735 h 500"/>
              <a:gd name="T56" fmla="*/ 68875 w 697"/>
              <a:gd name="T57" fmla="*/ 207759 h 500"/>
              <a:gd name="T58" fmla="*/ 77915 w 697"/>
              <a:gd name="T59" fmla="*/ 198907 h 500"/>
              <a:gd name="T60" fmla="*/ 82650 w 697"/>
              <a:gd name="T61" fmla="*/ 185890 h 500"/>
              <a:gd name="T62" fmla="*/ 83081 w 697"/>
              <a:gd name="T63" fmla="*/ 164541 h 500"/>
              <a:gd name="T64" fmla="*/ 83942 w 697"/>
              <a:gd name="T65" fmla="*/ 132258 h 500"/>
              <a:gd name="T66" fmla="*/ 82650 w 697"/>
              <a:gd name="T67" fmla="*/ 99974 h 500"/>
              <a:gd name="T68" fmla="*/ 92121 w 697"/>
              <a:gd name="T69" fmla="*/ 98412 h 500"/>
              <a:gd name="T70" fmla="*/ 98147 w 697"/>
              <a:gd name="T71" fmla="*/ 93205 h 500"/>
              <a:gd name="T72" fmla="*/ 103743 w 697"/>
              <a:gd name="T73" fmla="*/ 85916 h 500"/>
              <a:gd name="T74" fmla="*/ 108479 w 697"/>
              <a:gd name="T75" fmla="*/ 79146 h 500"/>
              <a:gd name="T76" fmla="*/ 120962 w 697"/>
              <a:gd name="T77" fmla="*/ 76022 h 500"/>
              <a:gd name="T78" fmla="*/ 135168 w 697"/>
              <a:gd name="T79" fmla="*/ 74460 h 500"/>
              <a:gd name="T80" fmla="*/ 146360 w 697"/>
              <a:gd name="T81" fmla="*/ 68212 h 500"/>
              <a:gd name="T82" fmla="*/ 154969 w 697"/>
              <a:gd name="T83" fmla="*/ 56236 h 500"/>
              <a:gd name="T84" fmla="*/ 167023 w 697"/>
              <a:gd name="T85" fmla="*/ 24994 h 500"/>
              <a:gd name="T86" fmla="*/ 175202 w 697"/>
              <a:gd name="T87" fmla="*/ 6248 h 500"/>
              <a:gd name="T88" fmla="*/ 183380 w 697"/>
              <a:gd name="T89" fmla="*/ 4166 h 500"/>
              <a:gd name="T90" fmla="*/ 193281 w 697"/>
              <a:gd name="T91" fmla="*/ 10414 h 500"/>
              <a:gd name="T92" fmla="*/ 220401 w 697"/>
              <a:gd name="T93" fmla="*/ 9373 h 500"/>
              <a:gd name="T94" fmla="*/ 253978 w 697"/>
              <a:gd name="T95" fmla="*/ 6769 h 500"/>
              <a:gd name="T96" fmla="*/ 256991 w 697"/>
              <a:gd name="T97" fmla="*/ 8852 h 500"/>
              <a:gd name="T98" fmla="*/ 260435 w 697"/>
              <a:gd name="T99" fmla="*/ 18745 h 500"/>
              <a:gd name="T100" fmla="*/ 263018 w 697"/>
              <a:gd name="T101" fmla="*/ 26556 h 500"/>
              <a:gd name="T102" fmla="*/ 266031 w 697"/>
              <a:gd name="T103" fmla="*/ 26035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7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32058 w 546"/>
              <a:gd name="T1" fmla="*/ 10112 h 173"/>
              <a:gd name="T2" fmla="*/ 40722 w 546"/>
              <a:gd name="T3" fmla="*/ 18096 h 173"/>
              <a:gd name="T4" fmla="*/ 47654 w 546"/>
              <a:gd name="T5" fmla="*/ 14370 h 173"/>
              <a:gd name="T6" fmla="*/ 57185 w 546"/>
              <a:gd name="T7" fmla="*/ 14370 h 173"/>
              <a:gd name="T8" fmla="*/ 69748 w 546"/>
              <a:gd name="T9" fmla="*/ 23418 h 173"/>
              <a:gd name="T10" fmla="*/ 90543 w 546"/>
              <a:gd name="T11" fmla="*/ 10112 h 173"/>
              <a:gd name="T12" fmla="*/ 105272 w 546"/>
              <a:gd name="T13" fmla="*/ 10112 h 173"/>
              <a:gd name="T14" fmla="*/ 112637 w 546"/>
              <a:gd name="T15" fmla="*/ 8516 h 173"/>
              <a:gd name="T16" fmla="*/ 116536 w 546"/>
              <a:gd name="T17" fmla="*/ 7451 h 173"/>
              <a:gd name="T18" fmla="*/ 120868 w 546"/>
              <a:gd name="T19" fmla="*/ 5854 h 173"/>
              <a:gd name="T20" fmla="*/ 123900 w 546"/>
              <a:gd name="T21" fmla="*/ 1597 h 173"/>
              <a:gd name="T22" fmla="*/ 139063 w 546"/>
              <a:gd name="T23" fmla="*/ 2661 h 173"/>
              <a:gd name="T24" fmla="*/ 144262 w 546"/>
              <a:gd name="T25" fmla="*/ 6387 h 173"/>
              <a:gd name="T26" fmla="*/ 150760 w 546"/>
              <a:gd name="T27" fmla="*/ 3726 h 173"/>
              <a:gd name="T28" fmla="*/ 152926 w 546"/>
              <a:gd name="T29" fmla="*/ 0 h 173"/>
              <a:gd name="T30" fmla="*/ 158991 w 546"/>
              <a:gd name="T31" fmla="*/ 3726 h 173"/>
              <a:gd name="T32" fmla="*/ 168522 w 546"/>
              <a:gd name="T33" fmla="*/ 3726 h 173"/>
              <a:gd name="T34" fmla="*/ 188883 w 546"/>
              <a:gd name="T35" fmla="*/ 532 h 173"/>
              <a:gd name="T36" fmla="*/ 208811 w 546"/>
              <a:gd name="T37" fmla="*/ 3193 h 173"/>
              <a:gd name="T38" fmla="*/ 228739 w 546"/>
              <a:gd name="T39" fmla="*/ 6387 h 173"/>
              <a:gd name="T40" fmla="*/ 236104 w 546"/>
              <a:gd name="T41" fmla="*/ 26079 h 173"/>
              <a:gd name="T42" fmla="*/ 232638 w 546"/>
              <a:gd name="T43" fmla="*/ 31934 h 173"/>
              <a:gd name="T44" fmla="*/ 222241 w 546"/>
              <a:gd name="T45" fmla="*/ 32998 h 173"/>
              <a:gd name="T46" fmla="*/ 209244 w 546"/>
              <a:gd name="T47" fmla="*/ 28740 h 173"/>
              <a:gd name="T48" fmla="*/ 178919 w 546"/>
              <a:gd name="T49" fmla="*/ 23418 h 173"/>
              <a:gd name="T50" fmla="*/ 189749 w 546"/>
              <a:gd name="T51" fmla="*/ 43110 h 173"/>
              <a:gd name="T52" fmla="*/ 204046 w 546"/>
              <a:gd name="T53" fmla="*/ 54287 h 173"/>
              <a:gd name="T54" fmla="*/ 213576 w 546"/>
              <a:gd name="T55" fmla="*/ 63335 h 173"/>
              <a:gd name="T56" fmla="*/ 205779 w 546"/>
              <a:gd name="T57" fmla="*/ 72383 h 173"/>
              <a:gd name="T58" fmla="*/ 194515 w 546"/>
              <a:gd name="T59" fmla="*/ 75576 h 173"/>
              <a:gd name="T60" fmla="*/ 184551 w 546"/>
              <a:gd name="T61" fmla="*/ 75044 h 173"/>
              <a:gd name="T62" fmla="*/ 178486 w 546"/>
              <a:gd name="T63" fmla="*/ 71318 h 173"/>
              <a:gd name="T64" fmla="*/ 172854 w 546"/>
              <a:gd name="T65" fmla="*/ 69189 h 173"/>
              <a:gd name="T66" fmla="*/ 166789 w 546"/>
              <a:gd name="T67" fmla="*/ 64399 h 173"/>
              <a:gd name="T68" fmla="*/ 162457 w 546"/>
              <a:gd name="T69" fmla="*/ 55351 h 173"/>
              <a:gd name="T70" fmla="*/ 158125 w 546"/>
              <a:gd name="T71" fmla="*/ 48965 h 173"/>
              <a:gd name="T72" fmla="*/ 149027 w 546"/>
              <a:gd name="T73" fmla="*/ 44707 h 173"/>
              <a:gd name="T74" fmla="*/ 140796 w 546"/>
              <a:gd name="T75" fmla="*/ 40449 h 173"/>
              <a:gd name="T76" fmla="*/ 131265 w 546"/>
              <a:gd name="T77" fmla="*/ 46304 h 173"/>
              <a:gd name="T78" fmla="*/ 111770 w 546"/>
              <a:gd name="T79" fmla="*/ 71318 h 173"/>
              <a:gd name="T80" fmla="*/ 102239 w 546"/>
              <a:gd name="T81" fmla="*/ 86753 h 173"/>
              <a:gd name="T82" fmla="*/ 95308 w 546"/>
              <a:gd name="T83" fmla="*/ 91543 h 173"/>
              <a:gd name="T84" fmla="*/ 81445 w 546"/>
              <a:gd name="T85" fmla="*/ 88882 h 173"/>
              <a:gd name="T86" fmla="*/ 71481 w 546"/>
              <a:gd name="T87" fmla="*/ 82495 h 173"/>
              <a:gd name="T88" fmla="*/ 48954 w 546"/>
              <a:gd name="T89" fmla="*/ 55884 h 173"/>
              <a:gd name="T90" fmla="*/ 41156 w 546"/>
              <a:gd name="T91" fmla="*/ 48433 h 173"/>
              <a:gd name="T92" fmla="*/ 25993 w 546"/>
              <a:gd name="T93" fmla="*/ 40449 h 173"/>
              <a:gd name="T94" fmla="*/ 6931 w 546"/>
              <a:gd name="T95" fmla="*/ 30869 h 173"/>
              <a:gd name="T96" fmla="*/ 4765 w 546"/>
              <a:gd name="T97" fmla="*/ 18096 h 173"/>
              <a:gd name="T98" fmla="*/ 12130 w 546"/>
              <a:gd name="T99" fmla="*/ 10112 h 173"/>
              <a:gd name="T100" fmla="*/ 20361 w 546"/>
              <a:gd name="T101" fmla="*/ 638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8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11848 w 246"/>
              <a:gd name="T1" fmla="*/ 51707 h 42"/>
              <a:gd name="T2" fmla="*/ 15798 w 246"/>
              <a:gd name="T3" fmla="*/ 51707 h 42"/>
              <a:gd name="T4" fmla="*/ 19747 w 246"/>
              <a:gd name="T5" fmla="*/ 50271 h 42"/>
              <a:gd name="T6" fmla="*/ 23258 w 246"/>
              <a:gd name="T7" fmla="*/ 47398 h 42"/>
              <a:gd name="T8" fmla="*/ 25890 w 246"/>
              <a:gd name="T9" fmla="*/ 44526 h 42"/>
              <a:gd name="T10" fmla="*/ 28962 w 246"/>
              <a:gd name="T11" fmla="*/ 43089 h 42"/>
              <a:gd name="T12" fmla="*/ 31595 w 246"/>
              <a:gd name="T13" fmla="*/ 41653 h 42"/>
              <a:gd name="T14" fmla="*/ 35106 w 246"/>
              <a:gd name="T15" fmla="*/ 41653 h 42"/>
              <a:gd name="T16" fmla="*/ 38177 w 246"/>
              <a:gd name="T17" fmla="*/ 43089 h 42"/>
              <a:gd name="T18" fmla="*/ 38177 w 246"/>
              <a:gd name="T19" fmla="*/ 60325 h 42"/>
              <a:gd name="T20" fmla="*/ 67578 w 246"/>
              <a:gd name="T21" fmla="*/ 60325 h 42"/>
              <a:gd name="T22" fmla="*/ 67578 w 246"/>
              <a:gd name="T23" fmla="*/ 56016 h 42"/>
              <a:gd name="T24" fmla="*/ 68456 w 246"/>
              <a:gd name="T25" fmla="*/ 51707 h 42"/>
              <a:gd name="T26" fmla="*/ 69773 w 246"/>
              <a:gd name="T27" fmla="*/ 47398 h 42"/>
              <a:gd name="T28" fmla="*/ 71528 w 246"/>
              <a:gd name="T29" fmla="*/ 44526 h 42"/>
              <a:gd name="T30" fmla="*/ 76794 w 246"/>
              <a:gd name="T31" fmla="*/ 37344 h 42"/>
              <a:gd name="T32" fmla="*/ 83376 w 246"/>
              <a:gd name="T33" fmla="*/ 33035 h 42"/>
              <a:gd name="T34" fmla="*/ 96979 w 246"/>
              <a:gd name="T35" fmla="*/ 24417 h 42"/>
              <a:gd name="T36" fmla="*/ 107950 w 246"/>
              <a:gd name="T37" fmla="*/ 17236 h 42"/>
              <a:gd name="T38" fmla="*/ 93030 w 246"/>
              <a:gd name="T39" fmla="*/ 18672 h 42"/>
              <a:gd name="T40" fmla="*/ 81621 w 246"/>
              <a:gd name="T41" fmla="*/ 20108 h 42"/>
              <a:gd name="T42" fmla="*/ 78110 w 246"/>
              <a:gd name="T43" fmla="*/ 21545 h 42"/>
              <a:gd name="T44" fmla="*/ 75038 w 246"/>
              <a:gd name="T45" fmla="*/ 21545 h 42"/>
              <a:gd name="T46" fmla="*/ 73722 w 246"/>
              <a:gd name="T47" fmla="*/ 20108 h 42"/>
              <a:gd name="T48" fmla="*/ 73283 w 246"/>
              <a:gd name="T49" fmla="*/ 17236 h 42"/>
              <a:gd name="T50" fmla="*/ 69773 w 246"/>
              <a:gd name="T51" fmla="*/ 22981 h 42"/>
              <a:gd name="T52" fmla="*/ 66701 w 246"/>
              <a:gd name="T53" fmla="*/ 24417 h 42"/>
              <a:gd name="T54" fmla="*/ 64507 w 246"/>
              <a:gd name="T55" fmla="*/ 24417 h 42"/>
              <a:gd name="T56" fmla="*/ 61874 w 246"/>
              <a:gd name="T57" fmla="*/ 21545 h 42"/>
              <a:gd name="T58" fmla="*/ 60118 w 246"/>
              <a:gd name="T59" fmla="*/ 17236 h 42"/>
              <a:gd name="T60" fmla="*/ 58363 w 246"/>
              <a:gd name="T61" fmla="*/ 12927 h 42"/>
              <a:gd name="T62" fmla="*/ 56608 w 246"/>
              <a:gd name="T63" fmla="*/ 7182 h 42"/>
              <a:gd name="T64" fmla="*/ 55291 w 246"/>
              <a:gd name="T65" fmla="*/ 0 h 42"/>
              <a:gd name="T66" fmla="*/ 53097 w 246"/>
              <a:gd name="T67" fmla="*/ 2873 h 42"/>
              <a:gd name="T68" fmla="*/ 49587 w 246"/>
              <a:gd name="T69" fmla="*/ 5745 h 42"/>
              <a:gd name="T70" fmla="*/ 45199 w 246"/>
              <a:gd name="T71" fmla="*/ 7182 h 42"/>
              <a:gd name="T72" fmla="*/ 40810 w 246"/>
              <a:gd name="T73" fmla="*/ 7182 h 42"/>
              <a:gd name="T74" fmla="*/ 32473 w 246"/>
              <a:gd name="T75" fmla="*/ 8618 h 42"/>
              <a:gd name="T76" fmla="*/ 26329 w 246"/>
              <a:gd name="T77" fmla="*/ 8618 h 42"/>
              <a:gd name="T78" fmla="*/ 25452 w 246"/>
              <a:gd name="T79" fmla="*/ 12927 h 42"/>
              <a:gd name="T80" fmla="*/ 24574 w 246"/>
              <a:gd name="T81" fmla="*/ 17236 h 42"/>
              <a:gd name="T82" fmla="*/ 23696 w 246"/>
              <a:gd name="T83" fmla="*/ 21545 h 42"/>
              <a:gd name="T84" fmla="*/ 21941 w 246"/>
              <a:gd name="T85" fmla="*/ 24417 h 42"/>
              <a:gd name="T86" fmla="*/ 18430 w 246"/>
              <a:gd name="T87" fmla="*/ 28726 h 42"/>
              <a:gd name="T88" fmla="*/ 14481 w 246"/>
              <a:gd name="T89" fmla="*/ 31599 h 42"/>
              <a:gd name="T90" fmla="*/ 6143 w 246"/>
              <a:gd name="T91" fmla="*/ 34471 h 42"/>
              <a:gd name="T92" fmla="*/ 0 w 246"/>
              <a:gd name="T93" fmla="*/ 34471 h 42"/>
              <a:gd name="T94" fmla="*/ 439 w 246"/>
              <a:gd name="T95" fmla="*/ 38780 h 42"/>
              <a:gd name="T96" fmla="*/ 1316 w 246"/>
              <a:gd name="T97" fmla="*/ 41653 h 42"/>
              <a:gd name="T98" fmla="*/ 2194 w 246"/>
              <a:gd name="T99" fmla="*/ 44526 h 42"/>
              <a:gd name="T100" fmla="*/ 3949 w 246"/>
              <a:gd name="T101" fmla="*/ 47398 h 42"/>
              <a:gd name="T102" fmla="*/ 7460 w 246"/>
              <a:gd name="T103" fmla="*/ 50271 h 42"/>
              <a:gd name="T104" fmla="*/ 11848 w 246"/>
              <a:gd name="T105" fmla="*/ 5170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29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43896 w 149"/>
              <a:gd name="T1" fmla="*/ 0 h 61"/>
              <a:gd name="T2" fmla="*/ 50289 w 149"/>
              <a:gd name="T3" fmla="*/ 937 h 61"/>
              <a:gd name="T4" fmla="*/ 57107 w 149"/>
              <a:gd name="T5" fmla="*/ 2811 h 61"/>
              <a:gd name="T6" fmla="*/ 61795 w 149"/>
              <a:gd name="T7" fmla="*/ 4684 h 61"/>
              <a:gd name="T8" fmla="*/ 63500 w 149"/>
              <a:gd name="T9" fmla="*/ 5621 h 61"/>
              <a:gd name="T10" fmla="*/ 63500 w 149"/>
              <a:gd name="T11" fmla="*/ 7495 h 61"/>
              <a:gd name="T12" fmla="*/ 62648 w 149"/>
              <a:gd name="T13" fmla="*/ 9369 h 61"/>
              <a:gd name="T14" fmla="*/ 61795 w 149"/>
              <a:gd name="T15" fmla="*/ 11243 h 61"/>
              <a:gd name="T16" fmla="*/ 60091 w 149"/>
              <a:gd name="T17" fmla="*/ 12180 h 61"/>
              <a:gd name="T18" fmla="*/ 58386 w 149"/>
              <a:gd name="T19" fmla="*/ 13116 h 61"/>
              <a:gd name="T20" fmla="*/ 56255 w 149"/>
              <a:gd name="T21" fmla="*/ 13116 h 61"/>
              <a:gd name="T22" fmla="*/ 54124 w 149"/>
              <a:gd name="T23" fmla="*/ 13116 h 61"/>
              <a:gd name="T24" fmla="*/ 52419 w 149"/>
              <a:gd name="T25" fmla="*/ 11243 h 61"/>
              <a:gd name="T26" fmla="*/ 52419 w 149"/>
              <a:gd name="T27" fmla="*/ 21548 h 61"/>
              <a:gd name="T28" fmla="*/ 52419 w 149"/>
              <a:gd name="T29" fmla="*/ 30917 h 61"/>
              <a:gd name="T30" fmla="*/ 52419 w 149"/>
              <a:gd name="T31" fmla="*/ 38412 h 61"/>
              <a:gd name="T32" fmla="*/ 52419 w 149"/>
              <a:gd name="T33" fmla="*/ 45907 h 61"/>
              <a:gd name="T34" fmla="*/ 49436 w 149"/>
              <a:gd name="T35" fmla="*/ 46844 h 61"/>
              <a:gd name="T36" fmla="*/ 46453 w 149"/>
              <a:gd name="T37" fmla="*/ 47781 h 61"/>
              <a:gd name="T38" fmla="*/ 44322 w 149"/>
              <a:gd name="T39" fmla="*/ 49655 h 61"/>
              <a:gd name="T40" fmla="*/ 42617 w 149"/>
              <a:gd name="T41" fmla="*/ 51529 h 61"/>
              <a:gd name="T42" fmla="*/ 40060 w 149"/>
              <a:gd name="T43" fmla="*/ 53402 h 61"/>
              <a:gd name="T44" fmla="*/ 37930 w 149"/>
              <a:gd name="T45" fmla="*/ 55276 h 61"/>
              <a:gd name="T46" fmla="*/ 35372 w 149"/>
              <a:gd name="T47" fmla="*/ 57150 h 61"/>
              <a:gd name="T48" fmla="*/ 32389 w 149"/>
              <a:gd name="T49" fmla="*/ 57150 h 61"/>
              <a:gd name="T50" fmla="*/ 28554 w 149"/>
              <a:gd name="T51" fmla="*/ 56213 h 61"/>
              <a:gd name="T52" fmla="*/ 22587 w 149"/>
              <a:gd name="T53" fmla="*/ 53402 h 61"/>
              <a:gd name="T54" fmla="*/ 16621 w 149"/>
              <a:gd name="T55" fmla="*/ 50592 h 61"/>
              <a:gd name="T56" fmla="*/ 10654 w 149"/>
              <a:gd name="T57" fmla="*/ 45907 h 61"/>
              <a:gd name="T58" fmla="*/ 5114 w 149"/>
              <a:gd name="T59" fmla="*/ 42160 h 61"/>
              <a:gd name="T60" fmla="*/ 1279 w 149"/>
              <a:gd name="T61" fmla="*/ 38412 h 61"/>
              <a:gd name="T62" fmla="*/ 426 w 149"/>
              <a:gd name="T63" fmla="*/ 36539 h 61"/>
              <a:gd name="T64" fmla="*/ 0 w 149"/>
              <a:gd name="T65" fmla="*/ 35602 h 61"/>
              <a:gd name="T66" fmla="*/ 0 w 149"/>
              <a:gd name="T67" fmla="*/ 34665 h 61"/>
              <a:gd name="T68" fmla="*/ 1279 w 149"/>
              <a:gd name="T69" fmla="*/ 34665 h 61"/>
              <a:gd name="T70" fmla="*/ 8097 w 149"/>
              <a:gd name="T71" fmla="*/ 33728 h 61"/>
              <a:gd name="T72" fmla="*/ 14916 w 149"/>
              <a:gd name="T73" fmla="*/ 32791 h 61"/>
              <a:gd name="T74" fmla="*/ 20456 w 149"/>
              <a:gd name="T75" fmla="*/ 29980 h 61"/>
              <a:gd name="T76" fmla="*/ 25570 w 149"/>
              <a:gd name="T77" fmla="*/ 25296 h 61"/>
              <a:gd name="T78" fmla="*/ 30685 w 149"/>
              <a:gd name="T79" fmla="*/ 20611 h 61"/>
              <a:gd name="T80" fmla="*/ 34946 w 149"/>
              <a:gd name="T81" fmla="*/ 14990 h 61"/>
              <a:gd name="T82" fmla="*/ 39634 w 149"/>
              <a:gd name="T83" fmla="*/ 7495 h 61"/>
              <a:gd name="T84" fmla="*/ 43896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30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57904 w 299"/>
              <a:gd name="T1" fmla="*/ 55605 h 74"/>
              <a:gd name="T2" fmla="*/ 67047 w 299"/>
              <a:gd name="T3" fmla="*/ 50199 h 74"/>
              <a:gd name="T4" fmla="*/ 77495 w 299"/>
              <a:gd name="T5" fmla="*/ 41704 h 74"/>
              <a:gd name="T6" fmla="*/ 86638 w 299"/>
              <a:gd name="T7" fmla="*/ 32436 h 74"/>
              <a:gd name="T8" fmla="*/ 90121 w 299"/>
              <a:gd name="T9" fmla="*/ 30892 h 74"/>
              <a:gd name="T10" fmla="*/ 91863 w 299"/>
              <a:gd name="T11" fmla="*/ 35526 h 74"/>
              <a:gd name="T12" fmla="*/ 95781 w 299"/>
              <a:gd name="T13" fmla="*/ 39387 h 74"/>
              <a:gd name="T14" fmla="*/ 105794 w 299"/>
              <a:gd name="T15" fmla="*/ 42476 h 74"/>
              <a:gd name="T16" fmla="*/ 117114 w 299"/>
              <a:gd name="T17" fmla="*/ 42476 h 74"/>
              <a:gd name="T18" fmla="*/ 124515 w 299"/>
              <a:gd name="T19" fmla="*/ 42476 h 74"/>
              <a:gd name="T20" fmla="*/ 127563 w 299"/>
              <a:gd name="T21" fmla="*/ 35526 h 74"/>
              <a:gd name="T22" fmla="*/ 129740 w 299"/>
              <a:gd name="T23" fmla="*/ 23941 h 74"/>
              <a:gd name="T24" fmla="*/ 121468 w 299"/>
              <a:gd name="T25" fmla="*/ 19307 h 74"/>
              <a:gd name="T26" fmla="*/ 106230 w 299"/>
              <a:gd name="T27" fmla="*/ 19307 h 74"/>
              <a:gd name="T28" fmla="*/ 97958 w 299"/>
              <a:gd name="T29" fmla="*/ 19307 h 74"/>
              <a:gd name="T30" fmla="*/ 93169 w 299"/>
              <a:gd name="T31" fmla="*/ 20852 h 74"/>
              <a:gd name="T32" fmla="*/ 88815 w 299"/>
              <a:gd name="T33" fmla="*/ 25486 h 74"/>
              <a:gd name="T34" fmla="*/ 74883 w 299"/>
              <a:gd name="T35" fmla="*/ 28575 h 74"/>
              <a:gd name="T36" fmla="*/ 76625 w 299"/>
              <a:gd name="T37" fmla="*/ 21624 h 74"/>
              <a:gd name="T38" fmla="*/ 78366 w 299"/>
              <a:gd name="T39" fmla="*/ 16218 h 74"/>
              <a:gd name="T40" fmla="*/ 84461 w 299"/>
              <a:gd name="T41" fmla="*/ 10040 h 74"/>
              <a:gd name="T42" fmla="*/ 91427 w 299"/>
              <a:gd name="T43" fmla="*/ 6951 h 74"/>
              <a:gd name="T44" fmla="*/ 97958 w 299"/>
              <a:gd name="T45" fmla="*/ 0 h 74"/>
              <a:gd name="T46" fmla="*/ 80543 w 299"/>
              <a:gd name="T47" fmla="*/ 2317 h 74"/>
              <a:gd name="T48" fmla="*/ 68353 w 299"/>
              <a:gd name="T49" fmla="*/ 8495 h 74"/>
              <a:gd name="T50" fmla="*/ 58339 w 299"/>
              <a:gd name="T51" fmla="*/ 19307 h 74"/>
              <a:gd name="T52" fmla="*/ 49632 w 299"/>
              <a:gd name="T53" fmla="*/ 30892 h 74"/>
              <a:gd name="T54" fmla="*/ 43537 w 299"/>
              <a:gd name="T55" fmla="*/ 40932 h 74"/>
              <a:gd name="T56" fmla="*/ 37877 w 299"/>
              <a:gd name="T57" fmla="*/ 45566 h 74"/>
              <a:gd name="T58" fmla="*/ 27864 w 299"/>
              <a:gd name="T59" fmla="*/ 48655 h 74"/>
              <a:gd name="T60" fmla="*/ 13932 w 299"/>
              <a:gd name="T61" fmla="*/ 49427 h 74"/>
              <a:gd name="T62" fmla="*/ 5224 w 299"/>
              <a:gd name="T63" fmla="*/ 51744 h 74"/>
              <a:gd name="T64" fmla="*/ 871 w 299"/>
              <a:gd name="T65" fmla="*/ 54061 h 74"/>
              <a:gd name="T66" fmla="*/ 16979 w 299"/>
              <a:gd name="T67" fmla="*/ 57150 h 74"/>
              <a:gd name="T68" fmla="*/ 44408 w 299"/>
              <a:gd name="T69" fmla="*/ 57150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cxnSp>
        <p:nvCxnSpPr>
          <p:cNvPr id="3" name="Straight Arrow Connector 2"/>
          <p:cNvCxnSpPr/>
          <p:nvPr/>
        </p:nvCxnSpPr>
        <p:spPr>
          <a:xfrm flipV="1">
            <a:off x="7400925" y="3854450"/>
            <a:ext cx="242887" cy="722313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2" name="Straight Arrow Connector 551"/>
          <p:cNvCxnSpPr/>
          <p:nvPr/>
        </p:nvCxnSpPr>
        <p:spPr>
          <a:xfrm flipH="1" flipV="1">
            <a:off x="4494213" y="2130425"/>
            <a:ext cx="323701" cy="528504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6" name="Straight Arrow Connector 555"/>
          <p:cNvCxnSpPr/>
          <p:nvPr/>
        </p:nvCxnSpPr>
        <p:spPr>
          <a:xfrm flipH="1" flipV="1">
            <a:off x="5003725" y="3321050"/>
            <a:ext cx="1" cy="378573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8" name="Straight Arrow Connector 557"/>
          <p:cNvCxnSpPr/>
          <p:nvPr/>
        </p:nvCxnSpPr>
        <p:spPr>
          <a:xfrm flipH="1" flipV="1">
            <a:off x="3957564" y="1955515"/>
            <a:ext cx="337417" cy="174910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0" name="Straight Arrow Connector 559"/>
          <p:cNvCxnSpPr/>
          <p:nvPr/>
        </p:nvCxnSpPr>
        <p:spPr>
          <a:xfrm flipH="1">
            <a:off x="4347370" y="1897063"/>
            <a:ext cx="1243805" cy="207962"/>
          </a:xfrm>
          <a:prstGeom prst="straightConnector1">
            <a:avLst/>
          </a:prstGeom>
          <a:ln w="38100">
            <a:solidFill>
              <a:srgbClr val="C0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3" name="Straight Arrow Connector 562"/>
          <p:cNvCxnSpPr/>
          <p:nvPr/>
        </p:nvCxnSpPr>
        <p:spPr>
          <a:xfrm flipH="1" flipV="1">
            <a:off x="2368941" y="2136775"/>
            <a:ext cx="1985572" cy="55563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5" name="Straight Arrow Connector 564"/>
          <p:cNvCxnSpPr/>
          <p:nvPr/>
        </p:nvCxnSpPr>
        <p:spPr>
          <a:xfrm flipH="1" flipV="1">
            <a:off x="2380851" y="2123419"/>
            <a:ext cx="1250556" cy="1060313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8" name="Straight Arrow Connector 567"/>
          <p:cNvCxnSpPr/>
          <p:nvPr/>
        </p:nvCxnSpPr>
        <p:spPr>
          <a:xfrm flipV="1">
            <a:off x="6022975" y="3252714"/>
            <a:ext cx="497681" cy="154621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/>
          <p:cNvSpPr/>
          <p:nvPr/>
        </p:nvSpPr>
        <p:spPr>
          <a:xfrm>
            <a:off x="1768475" y="3148806"/>
            <a:ext cx="100013" cy="131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2" name="Oval 571"/>
          <p:cNvSpPr/>
          <p:nvPr/>
        </p:nvSpPr>
        <p:spPr>
          <a:xfrm>
            <a:off x="4318793" y="2162969"/>
            <a:ext cx="100013" cy="131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3" name="Oval 572"/>
          <p:cNvSpPr/>
          <p:nvPr/>
        </p:nvSpPr>
        <p:spPr>
          <a:xfrm>
            <a:off x="6455568" y="3126252"/>
            <a:ext cx="100013" cy="131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4" name="Oval 573"/>
          <p:cNvSpPr/>
          <p:nvPr/>
        </p:nvSpPr>
        <p:spPr>
          <a:xfrm>
            <a:off x="6135687" y="2753356"/>
            <a:ext cx="100013" cy="131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75" name="Straight Arrow Connector 574"/>
          <p:cNvCxnSpPr/>
          <p:nvPr/>
        </p:nvCxnSpPr>
        <p:spPr>
          <a:xfrm>
            <a:off x="5676900" y="2727325"/>
            <a:ext cx="347662" cy="22703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7" name="Straight Arrow Connector 576"/>
          <p:cNvCxnSpPr/>
          <p:nvPr/>
        </p:nvCxnSpPr>
        <p:spPr>
          <a:xfrm flipV="1">
            <a:off x="4707732" y="3684588"/>
            <a:ext cx="287337" cy="788510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9" name="Straight Arrow Connector 578"/>
          <p:cNvCxnSpPr/>
          <p:nvPr/>
        </p:nvCxnSpPr>
        <p:spPr>
          <a:xfrm flipH="1" flipV="1">
            <a:off x="3863976" y="2632075"/>
            <a:ext cx="829468" cy="1798638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2" name="Straight Arrow Connector 581"/>
          <p:cNvCxnSpPr/>
          <p:nvPr/>
        </p:nvCxnSpPr>
        <p:spPr>
          <a:xfrm flipV="1">
            <a:off x="4716463" y="3621088"/>
            <a:ext cx="128587" cy="758031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4" name="Oval 583"/>
          <p:cNvSpPr/>
          <p:nvPr/>
        </p:nvSpPr>
        <p:spPr>
          <a:xfrm>
            <a:off x="4290218" y="2056607"/>
            <a:ext cx="100013" cy="13176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5" name="Straight Arrow Connector 584"/>
          <p:cNvCxnSpPr>
            <a:stCxn id="2441" idx="42"/>
          </p:cNvCxnSpPr>
          <p:nvPr/>
        </p:nvCxnSpPr>
        <p:spPr>
          <a:xfrm flipV="1">
            <a:off x="2400853" y="3922793"/>
            <a:ext cx="493823" cy="712517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7" name="Straight Arrow Connector 586"/>
          <p:cNvCxnSpPr/>
          <p:nvPr/>
        </p:nvCxnSpPr>
        <p:spPr>
          <a:xfrm flipV="1">
            <a:off x="2691646" y="3959225"/>
            <a:ext cx="203030" cy="676085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0" name="Straight Arrow Connector 589"/>
          <p:cNvCxnSpPr/>
          <p:nvPr/>
        </p:nvCxnSpPr>
        <p:spPr>
          <a:xfrm flipV="1">
            <a:off x="2630488" y="3951287"/>
            <a:ext cx="238756" cy="465138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3" name="Straight Arrow Connector 592"/>
          <p:cNvCxnSpPr>
            <a:endCxn id="573" idx="4"/>
          </p:cNvCxnSpPr>
          <p:nvPr/>
        </p:nvCxnSpPr>
        <p:spPr>
          <a:xfrm>
            <a:off x="5708650" y="2787650"/>
            <a:ext cx="796925" cy="470364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6" name="Straight Arrow Connector 595"/>
          <p:cNvCxnSpPr/>
          <p:nvPr/>
        </p:nvCxnSpPr>
        <p:spPr>
          <a:xfrm flipV="1">
            <a:off x="6373544" y="2478088"/>
            <a:ext cx="888475" cy="564197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Arrow Connector 597"/>
          <p:cNvCxnSpPr/>
          <p:nvPr/>
        </p:nvCxnSpPr>
        <p:spPr>
          <a:xfrm flipH="1">
            <a:off x="2476501" y="3271044"/>
            <a:ext cx="1546224" cy="662781"/>
          </a:xfrm>
          <a:prstGeom prst="straightConnector1">
            <a:avLst/>
          </a:prstGeom>
          <a:ln w="38100">
            <a:solidFill>
              <a:schemeClr val="accent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8" name="TextBox 2047"/>
          <p:cNvSpPr txBox="1"/>
          <p:nvPr/>
        </p:nvSpPr>
        <p:spPr>
          <a:xfrm>
            <a:off x="228600" y="381000"/>
            <a:ext cx="8763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/>
              <a:t>Here’s what some of these partnerships look like geo-graphically</a:t>
            </a:r>
            <a:endParaRPr lang="en-US" sz="3200" b="1" dirty="0"/>
          </a:p>
        </p:txBody>
      </p:sp>
      <p:cxnSp>
        <p:nvCxnSpPr>
          <p:cNvPr id="576" name="Straight Arrow Connector 575"/>
          <p:cNvCxnSpPr/>
          <p:nvPr/>
        </p:nvCxnSpPr>
        <p:spPr>
          <a:xfrm flipH="1" flipV="1">
            <a:off x="1797444" y="1981201"/>
            <a:ext cx="1071800" cy="1943099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8" name="Straight Arrow Connector 577"/>
          <p:cNvCxnSpPr/>
          <p:nvPr/>
        </p:nvCxnSpPr>
        <p:spPr>
          <a:xfrm flipH="1" flipV="1">
            <a:off x="2030365" y="1981201"/>
            <a:ext cx="4357735" cy="1217612"/>
          </a:xfrm>
          <a:prstGeom prst="straightConnector1">
            <a:avLst/>
          </a:prstGeom>
          <a:ln w="38100">
            <a:solidFill>
              <a:schemeClr val="tx2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0" name="Straight Arrow Connector 579"/>
          <p:cNvCxnSpPr/>
          <p:nvPr/>
        </p:nvCxnSpPr>
        <p:spPr>
          <a:xfrm flipH="1" flipV="1">
            <a:off x="4479131" y="2139950"/>
            <a:ext cx="1437483" cy="877889"/>
          </a:xfrm>
          <a:prstGeom prst="straightConnector1">
            <a:avLst/>
          </a:prstGeom>
          <a:ln w="38100">
            <a:solidFill>
              <a:srgbClr val="00B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1" name="Straight Arrow Connector 580"/>
          <p:cNvCxnSpPr/>
          <p:nvPr/>
        </p:nvCxnSpPr>
        <p:spPr>
          <a:xfrm flipH="1" flipV="1">
            <a:off x="3917156" y="2701131"/>
            <a:ext cx="1242220" cy="1572420"/>
          </a:xfrm>
          <a:prstGeom prst="straightConnector1">
            <a:avLst/>
          </a:prstGeom>
          <a:ln w="38100">
            <a:solidFill>
              <a:srgbClr val="00B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3" name="Straight Arrow Connector 582"/>
          <p:cNvCxnSpPr/>
          <p:nvPr/>
        </p:nvCxnSpPr>
        <p:spPr>
          <a:xfrm flipH="1" flipV="1">
            <a:off x="3891922" y="2716213"/>
            <a:ext cx="871372" cy="109537"/>
          </a:xfrm>
          <a:prstGeom prst="straightConnector1">
            <a:avLst/>
          </a:prstGeom>
          <a:ln w="38100">
            <a:solidFill>
              <a:srgbClr val="00B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6" name="Straight Arrow Connector 585"/>
          <p:cNvCxnSpPr/>
          <p:nvPr/>
        </p:nvCxnSpPr>
        <p:spPr>
          <a:xfrm flipH="1" flipV="1">
            <a:off x="3819525" y="2716213"/>
            <a:ext cx="193675" cy="572294"/>
          </a:xfrm>
          <a:prstGeom prst="straightConnector1">
            <a:avLst/>
          </a:prstGeom>
          <a:ln w="38100">
            <a:solidFill>
              <a:srgbClr val="00B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8" name="Straight Arrow Connector 587"/>
          <p:cNvCxnSpPr/>
          <p:nvPr/>
        </p:nvCxnSpPr>
        <p:spPr>
          <a:xfrm flipV="1">
            <a:off x="3631406" y="2101851"/>
            <a:ext cx="492920" cy="1105139"/>
          </a:xfrm>
          <a:prstGeom prst="straightConnector1">
            <a:avLst/>
          </a:prstGeom>
          <a:ln w="38100">
            <a:solidFill>
              <a:srgbClr val="00B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1" name="Straight Arrow Connector 590"/>
          <p:cNvCxnSpPr/>
          <p:nvPr/>
        </p:nvCxnSpPr>
        <p:spPr>
          <a:xfrm flipV="1">
            <a:off x="2513012" y="2101850"/>
            <a:ext cx="1509713" cy="1720056"/>
          </a:xfrm>
          <a:prstGeom prst="straightConnector1">
            <a:avLst/>
          </a:prstGeom>
          <a:ln w="38100">
            <a:solidFill>
              <a:srgbClr val="00B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4" name="Straight Arrow Connector 593"/>
          <p:cNvCxnSpPr/>
          <p:nvPr/>
        </p:nvCxnSpPr>
        <p:spPr>
          <a:xfrm>
            <a:off x="2116776" y="1936750"/>
            <a:ext cx="1871024" cy="180975"/>
          </a:xfrm>
          <a:prstGeom prst="straightConnector1">
            <a:avLst/>
          </a:prstGeom>
          <a:ln w="38100">
            <a:solidFill>
              <a:srgbClr val="00B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7" name="Straight Arrow Connector 596"/>
          <p:cNvCxnSpPr/>
          <p:nvPr/>
        </p:nvCxnSpPr>
        <p:spPr>
          <a:xfrm flipH="1" flipV="1">
            <a:off x="4089400" y="2197759"/>
            <a:ext cx="3238500" cy="2286930"/>
          </a:xfrm>
          <a:prstGeom prst="straightConnector1">
            <a:avLst/>
          </a:prstGeom>
          <a:ln w="38100">
            <a:solidFill>
              <a:srgbClr val="00B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Arrow Connector 598"/>
          <p:cNvCxnSpPr/>
          <p:nvPr/>
        </p:nvCxnSpPr>
        <p:spPr>
          <a:xfrm flipH="1" flipV="1">
            <a:off x="4202113" y="2266950"/>
            <a:ext cx="452793" cy="1265533"/>
          </a:xfrm>
          <a:prstGeom prst="straightConnector1">
            <a:avLst/>
          </a:prstGeom>
          <a:ln w="38100">
            <a:solidFill>
              <a:srgbClr val="00B05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02" name="Picture 601" descr="Description : logo"/>
          <p:cNvPicPr/>
          <p:nvPr/>
        </p:nvPicPr>
        <p:blipFill>
          <a:blip r:embed="rId3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5403850"/>
            <a:ext cx="2976088" cy="1371023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8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2200" y="5436789"/>
            <a:ext cx="2800135" cy="1268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4237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2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6" presetClass="entr" presetSubtype="2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250"/>
                                        <p:tgtEl>
                                          <p:spTgt spid="5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250"/>
                                        <p:tgtEl>
                                          <p:spTgt spid="5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250"/>
                                        <p:tgtEl>
                                          <p:spTgt spid="5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250"/>
                                        <p:tgtEl>
                                          <p:spTgt spid="5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250"/>
                            </p:stCondLst>
                            <p:childTnLst>
                              <p:par>
                                <p:cTn id="2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250"/>
                                        <p:tgtEl>
                                          <p:spTgt spid="5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500"/>
                            </p:stCondLst>
                            <p:childTnLst>
                              <p:par>
                                <p:cTn id="29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250"/>
                                        <p:tgtEl>
                                          <p:spTgt spid="5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750"/>
                            </p:stCondLst>
                            <p:childTnLst>
                              <p:par>
                                <p:cTn id="3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000"/>
                            </p:stCondLst>
                            <p:childTnLst>
                              <p:par>
                                <p:cTn id="3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9" dur="250"/>
                                        <p:tgtEl>
                                          <p:spTgt spid="5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250"/>
                            </p:stCondLst>
                            <p:childTnLst>
                              <p:par>
                                <p:cTn id="4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250"/>
                                        <p:tgtEl>
                                          <p:spTgt spid="5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500"/>
                            </p:stCondLst>
                            <p:childTnLst>
                              <p:par>
                                <p:cTn id="4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7" dur="250"/>
                                        <p:tgtEl>
                                          <p:spTgt spid="5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750"/>
                            </p:stCondLst>
                            <p:childTnLst>
                              <p:par>
                                <p:cTn id="49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250"/>
                                        <p:tgtEl>
                                          <p:spTgt spid="5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5" dur="250"/>
                                        <p:tgtEl>
                                          <p:spTgt spid="5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250"/>
                            </p:stCondLst>
                            <p:childTnLst>
                              <p:par>
                                <p:cTn id="5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250"/>
                                        <p:tgtEl>
                                          <p:spTgt spid="5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500"/>
                            </p:stCondLst>
                            <p:childTnLst>
                              <p:par>
                                <p:cTn id="6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3" dur="250"/>
                                        <p:tgtEl>
                                          <p:spTgt spid="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750"/>
                            </p:stCondLst>
                            <p:childTnLst>
                              <p:par>
                                <p:cTn id="6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250"/>
                                        <p:tgtEl>
                                          <p:spTgt spid="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0"/>
                            </p:stCondLst>
                            <p:childTnLst>
                              <p:par>
                                <p:cTn id="69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1" dur="250"/>
                                        <p:tgtEl>
                                          <p:spTgt spid="5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250"/>
                            </p:stCondLst>
                            <p:childTnLst>
                              <p:par>
                                <p:cTn id="7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5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500"/>
                            </p:stCondLst>
                            <p:childTnLst>
                              <p:par>
                                <p:cTn id="77" presetID="16" presetClass="entr" presetSubtype="21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250"/>
                                        <p:tgtEl>
                                          <p:spTgt spid="5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000"/>
                            </p:stCondLst>
                            <p:childTnLst>
                              <p:par>
                                <p:cTn id="81" presetID="16" presetClass="entr" presetSubtype="2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3" dur="500"/>
                                        <p:tgtEl>
                                          <p:spTgt spid="5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7000"/>
                            </p:stCondLst>
                            <p:childTnLst>
                              <p:par>
                                <p:cTn id="8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7" dur="500"/>
                                        <p:tgtEl>
                                          <p:spTgt spid="5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500"/>
                            </p:stCondLst>
                            <p:childTnLst>
                              <p:par>
                                <p:cTn id="89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1" dur="250"/>
                                        <p:tgtEl>
                                          <p:spTgt spid="5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7750"/>
                            </p:stCondLst>
                            <p:childTnLst>
                              <p:par>
                                <p:cTn id="9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5" dur="250"/>
                                        <p:tgtEl>
                                          <p:spTgt spid="5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8000"/>
                            </p:stCondLst>
                            <p:childTnLst>
                              <p:par>
                                <p:cTn id="9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9" dur="250"/>
                                        <p:tgtEl>
                                          <p:spTgt spid="5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8250"/>
                            </p:stCondLst>
                            <p:childTnLst>
                              <p:par>
                                <p:cTn id="10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3" dur="250"/>
                                        <p:tgtEl>
                                          <p:spTgt spid="5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8500"/>
                            </p:stCondLst>
                            <p:childTnLst>
                              <p:par>
                                <p:cTn id="10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7" dur="250"/>
                                        <p:tgtEl>
                                          <p:spTgt spid="5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8750"/>
                            </p:stCondLst>
                            <p:childTnLst>
                              <p:par>
                                <p:cTn id="109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1" dur="250"/>
                                        <p:tgtEl>
                                          <p:spTgt spid="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9000"/>
                            </p:stCondLst>
                            <p:childTnLst>
                              <p:par>
                                <p:cTn id="11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5" dur="250"/>
                                        <p:tgtEl>
                                          <p:spTgt spid="5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9250"/>
                            </p:stCondLst>
                            <p:childTnLst>
                              <p:par>
                                <p:cTn id="11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9" dur="250"/>
                                        <p:tgtEl>
                                          <p:spTgt spid="5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9500"/>
                            </p:stCondLst>
                            <p:childTnLst>
                              <p:par>
                                <p:cTn id="12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3" dur="250"/>
                                        <p:tgtEl>
                                          <p:spTgt spid="5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>
                            <p:stCondLst>
                              <p:cond delay="9750"/>
                            </p:stCondLst>
                            <p:childTnLst>
                              <p:par>
                                <p:cTn id="125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7" dur="250"/>
                                        <p:tgtEl>
                                          <p:spTgt spid="5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>
                            <p:stCondLst>
                              <p:cond delay="10000"/>
                            </p:stCondLst>
                            <p:childTnLst>
                              <p:par>
                                <p:cTn id="129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1" dur="250"/>
                                        <p:tgtEl>
                                          <p:spTgt spid="5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10250"/>
                            </p:stCondLst>
                            <p:childTnLst>
                              <p:par>
                                <p:cTn id="13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5" dur="250"/>
                                        <p:tgtEl>
                                          <p:spTgt spid="5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>
                            <p:stCondLst>
                              <p:cond delay="10500"/>
                            </p:stCondLst>
                            <p:childTnLst>
                              <p:par>
                                <p:cTn id="13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9" dur="250"/>
                                        <p:tgtEl>
                                          <p:spTgt spid="5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573" grpId="0" animBg="1"/>
      <p:bldP spid="574" grpId="0" animBg="1"/>
      <p:bldP spid="584" grpId="0" animBg="1"/>
      <p:bldP spid="204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1000"/>
            <a:ext cx="9144000" cy="1069848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7030A0"/>
                </a:solidFill>
                <a:latin typeface="Arial" charset="0"/>
              </a:rPr>
              <a:t>EvalPartners: What?</a:t>
            </a:r>
            <a:endParaRPr lang="en-US" dirty="0">
              <a:solidFill>
                <a:srgbClr val="C00000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040141869"/>
              </p:ext>
            </p:extLst>
          </p:nvPr>
        </p:nvGraphicFramePr>
        <p:xfrm>
          <a:off x="155275" y="1599497"/>
          <a:ext cx="4797725" cy="45338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018468" y="3122950"/>
            <a:ext cx="3810000" cy="1754326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 algn="ctr"/>
            <a:r>
              <a:rPr lang="en-US" sz="2000" b="1" dirty="0" smtClean="0"/>
              <a:t>Equity-focused and Gender-responsive evaluation systems/policies </a:t>
            </a:r>
            <a:endParaRPr lang="en-US" sz="2000" dirty="0" smtClean="0"/>
          </a:p>
          <a:p>
            <a:pPr lvl="1"/>
            <a:endParaRPr lang="en-US" i="1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483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AsOne/>
      </p:bldGraphic>
      <p:bldP spid="7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1905001"/>
            <a:ext cx="8534400" cy="838200"/>
          </a:xfrm>
        </p:spPr>
        <p:txBody>
          <a:bodyPr>
            <a:noAutofit/>
          </a:bodyPr>
          <a:lstStyle/>
          <a:p>
            <a:pPr algn="ctr"/>
            <a:r>
              <a:rPr lang="en-US" sz="4000" b="1" dirty="0" smtClean="0">
                <a:solidFill>
                  <a:srgbClr val="C00000"/>
                </a:solidFill>
              </a:rPr>
              <a:t>Enabling Environment Taskforce</a:t>
            </a:r>
            <a:endParaRPr lang="en-US" sz="4000" b="1" dirty="0">
              <a:solidFill>
                <a:srgbClr val="C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3200400"/>
            <a:ext cx="7391400" cy="36576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rgbClr val="0070C0"/>
                </a:solidFill>
              </a:rPr>
              <a:t>Toolkit to help VOPEs advocate for enhanced national evaluation policies and systems</a:t>
            </a:r>
            <a:endParaRPr lang="en-US" sz="4000" b="1" dirty="0">
              <a:solidFill>
                <a:srgbClr val="0070C0"/>
              </a:solidFill>
            </a:endParaRPr>
          </a:p>
        </p:txBody>
      </p:sp>
      <p:pic>
        <p:nvPicPr>
          <p:cNvPr id="5" name="Picture 4" descr="Description : logo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387926"/>
            <a:ext cx="2743200" cy="15170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4712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1905001"/>
            <a:ext cx="8534400" cy="838200"/>
          </a:xfrm>
        </p:spPr>
        <p:txBody>
          <a:bodyPr>
            <a:noAutofit/>
          </a:bodyPr>
          <a:lstStyle/>
          <a:p>
            <a:pPr algn="ctr"/>
            <a:r>
              <a:rPr lang="en-US" sz="4000" b="1" dirty="0" smtClean="0">
                <a:solidFill>
                  <a:srgbClr val="C00000"/>
                </a:solidFill>
              </a:rPr>
              <a:t>Institutional Capacity Taskforce</a:t>
            </a:r>
            <a:endParaRPr lang="en-US" sz="4000" b="1" dirty="0">
              <a:solidFill>
                <a:srgbClr val="C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3200400"/>
            <a:ext cx="7391400" cy="3657600"/>
          </a:xfrm>
        </p:spPr>
        <p:txBody>
          <a:bodyPr>
            <a:normAutofit lnSpcReduction="10000"/>
          </a:bodyPr>
          <a:lstStyle/>
          <a:p>
            <a:pPr algn="ctr"/>
            <a:r>
              <a:rPr lang="en-US" sz="4000" b="1" dirty="0" smtClean="0">
                <a:solidFill>
                  <a:srgbClr val="0070C0"/>
                </a:solidFill>
              </a:rPr>
              <a:t>Toolkit to help VOPEs strengthen their institutional capacities, including membership, governance, communications, finances</a:t>
            </a:r>
            <a:endParaRPr lang="en-US" sz="4000" b="1" dirty="0">
              <a:solidFill>
                <a:srgbClr val="0070C0"/>
              </a:solidFill>
            </a:endParaRPr>
          </a:p>
        </p:txBody>
      </p:sp>
      <p:pic>
        <p:nvPicPr>
          <p:cNvPr id="5" name="Picture 4" descr="Description : logo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387926"/>
            <a:ext cx="2743200" cy="15170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6295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1905001"/>
            <a:ext cx="8534400" cy="838200"/>
          </a:xfrm>
        </p:spPr>
        <p:txBody>
          <a:bodyPr>
            <a:noAutofit/>
          </a:bodyPr>
          <a:lstStyle/>
          <a:p>
            <a:pPr algn="ctr"/>
            <a:r>
              <a:rPr lang="en-US" sz="4000" b="1" dirty="0" smtClean="0">
                <a:solidFill>
                  <a:srgbClr val="C00000"/>
                </a:solidFill>
              </a:rPr>
              <a:t>E-Learning Taskforce</a:t>
            </a:r>
            <a:endParaRPr lang="en-US" sz="4000" b="1" dirty="0">
              <a:solidFill>
                <a:srgbClr val="C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3200400"/>
            <a:ext cx="7391400" cy="36576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rgbClr val="0070C0"/>
                </a:solidFill>
              </a:rPr>
              <a:t>Series of online webinars and courses based on the </a:t>
            </a:r>
            <a:r>
              <a:rPr lang="en-US" sz="4000" b="1" dirty="0" smtClean="0">
                <a:solidFill>
                  <a:srgbClr val="0070C0"/>
                </a:solidFill>
                <a:hlinkClick r:id="rId2"/>
              </a:rPr>
              <a:t>www.MyMandE.org</a:t>
            </a:r>
            <a:r>
              <a:rPr lang="en-US" sz="4000" b="1" dirty="0" smtClean="0">
                <a:solidFill>
                  <a:srgbClr val="0070C0"/>
                </a:solidFill>
              </a:rPr>
              <a:t> </a:t>
            </a:r>
          </a:p>
          <a:p>
            <a:pPr algn="ctr"/>
            <a:r>
              <a:rPr lang="en-US" sz="4000" b="1" dirty="0" smtClean="0">
                <a:solidFill>
                  <a:srgbClr val="0070C0"/>
                </a:solidFill>
              </a:rPr>
              <a:t>portal</a:t>
            </a:r>
            <a:endParaRPr lang="en-US" sz="4000" b="1" dirty="0">
              <a:solidFill>
                <a:srgbClr val="0070C0"/>
              </a:solidFill>
            </a:endParaRPr>
          </a:p>
        </p:txBody>
      </p:sp>
      <p:pic>
        <p:nvPicPr>
          <p:cNvPr id="5" name="Picture 4" descr="Description : logo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387926"/>
            <a:ext cx="2743200" cy="15170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6087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1066800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 smtClean="0"/>
              <a:t>E-Learning courses offered by 33 world-level experts</a:t>
            </a:r>
            <a:endParaRPr lang="en-US" sz="2900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76400"/>
            <a:ext cx="8001000" cy="4648200"/>
          </a:xfrm>
        </p:spPr>
        <p:txBody>
          <a:bodyPr>
            <a:normAutofit fontScale="92500" lnSpcReduction="10000"/>
          </a:bodyPr>
          <a:lstStyle/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Symbol"/>
              <a:buChar char=""/>
              <a:defRPr/>
            </a:pPr>
            <a:r>
              <a:rPr lang="en-GB" dirty="0">
                <a:ea typeface="Times New Roman"/>
              </a:rPr>
              <a:t>International experts, </a:t>
            </a:r>
            <a:r>
              <a:rPr lang="en-GB" sz="1800" dirty="0">
                <a:ea typeface="Times New Roman"/>
              </a:rPr>
              <a:t>including Michael Quinn Patton, Michael Bamberger, Jim Rugh, David Fetterman,  Patricia Rogers, Stewart Donaldson, Donna Mertens, Jennifer Greene, Bob Williams, Martin Reynolds, </a:t>
            </a:r>
            <a:r>
              <a:rPr lang="en-GB" sz="1800" dirty="0" err="1">
                <a:ea typeface="Times New Roman"/>
              </a:rPr>
              <a:t>Saville</a:t>
            </a:r>
            <a:r>
              <a:rPr lang="en-GB" sz="1800" dirty="0">
                <a:ea typeface="Times New Roman"/>
              </a:rPr>
              <a:t> Kushner and Hallie </a:t>
            </a:r>
            <a:r>
              <a:rPr lang="en-GB" sz="1800" dirty="0" smtClean="0">
                <a:ea typeface="Times New Roman"/>
              </a:rPr>
              <a:t>Preskill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Symbol"/>
              <a:buChar char=""/>
              <a:defRPr/>
            </a:pPr>
            <a:endParaRPr lang="en-US" sz="1800" dirty="0" smtClean="0">
              <a:latin typeface="Times New Roman"/>
              <a:ea typeface="MS Mincho"/>
            </a:endParaRP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Symbol"/>
              <a:buChar char=""/>
              <a:defRPr/>
            </a:pPr>
            <a:r>
              <a:rPr lang="en-GB" dirty="0">
                <a:ea typeface="Times New Roman"/>
              </a:rPr>
              <a:t>Senior representatives of the international community, </a:t>
            </a:r>
            <a:r>
              <a:rPr lang="en-GB" sz="1800" dirty="0" smtClean="0">
                <a:ea typeface="Times New Roman"/>
              </a:rPr>
              <a:t>including </a:t>
            </a:r>
            <a:r>
              <a:rPr lang="en-GB" sz="2000" dirty="0" smtClean="0">
                <a:ea typeface="Times New Roman"/>
              </a:rPr>
              <a:t>Caroline </a:t>
            </a:r>
            <a:r>
              <a:rPr lang="en-GB" sz="2000" dirty="0">
                <a:ea typeface="Times New Roman"/>
              </a:rPr>
              <a:t>Heider, Belen Sanz,</a:t>
            </a:r>
            <a:br>
              <a:rPr lang="en-GB" sz="2000" dirty="0">
                <a:ea typeface="Times New Roman"/>
              </a:rPr>
            </a:br>
            <a:r>
              <a:rPr lang="en-GB" sz="2000" dirty="0">
                <a:ea typeface="Times New Roman"/>
              </a:rPr>
              <a:t>Indran Naidoo, Fred Carden, Hans Lundgren, and Marco Segone</a:t>
            </a:r>
            <a:endParaRPr lang="en-US" sz="2000" dirty="0" smtClean="0">
              <a:latin typeface="Times New Roman"/>
              <a:ea typeface="MS Mincho"/>
            </a:endParaRP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Symbol"/>
              <a:buChar char=""/>
              <a:defRPr/>
            </a:pPr>
            <a:endParaRPr lang="en-GB" dirty="0" smtClean="0">
              <a:ea typeface="Times New Roman"/>
            </a:endParaRP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Symbol"/>
              <a:buChar char=""/>
              <a:defRPr/>
            </a:pPr>
            <a:r>
              <a:rPr lang="en-GB" dirty="0" smtClean="0">
                <a:ea typeface="Times New Roman"/>
              </a:rPr>
              <a:t>Senior </a:t>
            </a:r>
            <a:r>
              <a:rPr lang="en-GB" dirty="0">
                <a:ea typeface="Times New Roman"/>
              </a:rPr>
              <a:t>managers responsible for country-led M&amp;E systems, i</a:t>
            </a:r>
            <a:r>
              <a:rPr lang="en-GB" sz="1800" dirty="0">
                <a:ea typeface="Times New Roman"/>
              </a:rPr>
              <a:t>ncluding </a:t>
            </a:r>
            <a:r>
              <a:rPr lang="en-GB" sz="1800" dirty="0" err="1">
                <a:ea typeface="Times New Roman"/>
              </a:rPr>
              <a:t>Sivagnanasothy</a:t>
            </a:r>
            <a:r>
              <a:rPr lang="en-GB" sz="1800" dirty="0">
                <a:ea typeface="Times New Roman"/>
              </a:rPr>
              <a:t> </a:t>
            </a:r>
            <a:r>
              <a:rPr lang="en-GB" sz="1800" dirty="0" err="1">
                <a:ea typeface="Times New Roman"/>
              </a:rPr>
              <a:t>Velayuthan</a:t>
            </a:r>
            <a:r>
              <a:rPr lang="en-GB" sz="1800" dirty="0">
                <a:ea typeface="Times New Roman"/>
              </a:rPr>
              <a:t> and Diego </a:t>
            </a:r>
            <a:r>
              <a:rPr lang="en-GB" sz="1800" dirty="0" smtClean="0">
                <a:ea typeface="Times New Roman"/>
              </a:rPr>
              <a:t>Dorado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Symbol"/>
              <a:buChar char=""/>
              <a:defRPr/>
            </a:pPr>
            <a:endParaRPr lang="en-US" sz="1800" dirty="0" smtClean="0">
              <a:latin typeface="Times New Roman"/>
              <a:ea typeface="MS Mincho"/>
            </a:endParaRP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Symbol"/>
              <a:buChar char=""/>
              <a:defRPr/>
            </a:pPr>
            <a:r>
              <a:rPr lang="en-GB" dirty="0">
                <a:ea typeface="Times New Roman"/>
              </a:rPr>
              <a:t>Leaders from the Global South and BRIC countries, </a:t>
            </a:r>
            <a:r>
              <a:rPr lang="en-GB" sz="1800" dirty="0">
                <a:ea typeface="Times New Roman"/>
              </a:rPr>
              <a:t>including Zenda Ofir, Shiva Kumar and Alexey Kuzmin  </a:t>
            </a:r>
            <a:endParaRPr lang="en-US" sz="1800" dirty="0" smtClean="0">
              <a:latin typeface="Times New Roman"/>
              <a:ea typeface="MS Mincho"/>
            </a:endParaRPr>
          </a:p>
          <a:p>
            <a:pPr>
              <a:defRPr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29063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r>
              <a:rPr lang="en-US" dirty="0" smtClean="0"/>
              <a:t>E-Learning Visitor Map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983672"/>
            <a:ext cx="8767082" cy="5579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51473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://mymande.org/sites/default/files/images/Evaluation_and_Civil_Societ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695450"/>
            <a:ext cx="4038600" cy="504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mymande.org/sites/default/files/Learning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1676400"/>
            <a:ext cx="4038600" cy="504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685800" y="457200"/>
            <a:ext cx="7772400" cy="838200"/>
          </a:xfrm>
          <a:prstGeom prst="rect">
            <a:avLst/>
          </a:prstGeom>
        </p:spPr>
        <p:txBody>
          <a:bodyPr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 smtClean="0">
                <a:solidFill>
                  <a:srgbClr val="C00000"/>
                </a:solidFill>
              </a:rPr>
              <a:t>Books published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490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250"/>
                            </p:stCondLst>
                            <p:childTnLst>
                              <p:par>
                                <p:cTn id="9" presetID="21" presetClass="entr" presetSubtype="1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1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2438400"/>
            <a:ext cx="8534400" cy="838200"/>
          </a:xfrm>
        </p:spPr>
        <p:txBody>
          <a:bodyPr>
            <a:noAutofit/>
          </a:bodyPr>
          <a:lstStyle/>
          <a:p>
            <a:pPr algn="ctr"/>
            <a:r>
              <a:rPr lang="en-US" sz="4000" b="1" dirty="0" smtClean="0">
                <a:solidFill>
                  <a:srgbClr val="C00000"/>
                </a:solidFill>
              </a:rPr>
              <a:t>Equity-Focused and Gender-Responsive Taskforce</a:t>
            </a:r>
            <a:endParaRPr lang="en-US" sz="4000" b="1" dirty="0">
              <a:solidFill>
                <a:srgbClr val="C0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3733800"/>
            <a:ext cx="7391400" cy="3124200"/>
          </a:xfrm>
        </p:spPr>
        <p:txBody>
          <a:bodyPr>
            <a:normAutofit/>
          </a:bodyPr>
          <a:lstStyle/>
          <a:p>
            <a:pPr algn="ctr"/>
            <a:r>
              <a:rPr lang="en-US" sz="4000" b="1" dirty="0" smtClean="0">
                <a:solidFill>
                  <a:srgbClr val="0070C0"/>
                </a:solidFill>
              </a:rPr>
              <a:t>Promoting some of the underlying principles and over-all goals of EvalPartners</a:t>
            </a:r>
            <a:endParaRPr lang="en-US" sz="4000" b="1" dirty="0">
              <a:solidFill>
                <a:srgbClr val="0070C0"/>
              </a:solidFill>
            </a:endParaRPr>
          </a:p>
        </p:txBody>
      </p:sp>
      <p:pic>
        <p:nvPicPr>
          <p:cNvPr id="5" name="Picture 4" descr="Description : logo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387926"/>
            <a:ext cx="2743200" cy="15170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46574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9209" y="5257800"/>
            <a:ext cx="3785391" cy="1607695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304800" y="291136"/>
            <a:ext cx="8702722" cy="5257800"/>
            <a:chOff x="304800" y="291136"/>
            <a:chExt cx="8458200" cy="5257800"/>
          </a:xfrm>
        </p:grpSpPr>
        <p:grpSp>
          <p:nvGrpSpPr>
            <p:cNvPr id="3" name="Group 2"/>
            <p:cNvGrpSpPr/>
            <p:nvPr/>
          </p:nvGrpSpPr>
          <p:grpSpPr>
            <a:xfrm>
              <a:off x="304800" y="291136"/>
              <a:ext cx="8458200" cy="5257800"/>
              <a:chOff x="304800" y="291136"/>
              <a:chExt cx="8458200" cy="5257800"/>
            </a:xfrm>
          </p:grpSpPr>
          <p:graphicFrame>
            <p:nvGraphicFramePr>
              <p:cNvPr id="4" name="Diagram 3"/>
              <p:cNvGraphicFramePr/>
              <p:nvPr>
                <p:extLst>
                  <p:ext uri="{D42A27DB-BD31-4B8C-83A1-F6EECF244321}">
                    <p14:modId xmlns:p14="http://schemas.microsoft.com/office/powerpoint/2010/main" val="369594938"/>
                  </p:ext>
                </p:extLst>
              </p:nvPr>
            </p:nvGraphicFramePr>
            <p:xfrm>
              <a:off x="304800" y="291136"/>
              <a:ext cx="8458200" cy="5257800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" r:lo="rId4" r:qs="rId5" r:cs="rId6"/>
              </a:graphicData>
            </a:graphic>
          </p:graphicFrame>
          <p:sp>
            <p:nvSpPr>
              <p:cNvPr id="2" name="Oval 1"/>
              <p:cNvSpPr/>
              <p:nvPr/>
            </p:nvSpPr>
            <p:spPr>
              <a:xfrm>
                <a:off x="3125338" y="2535072"/>
                <a:ext cx="600501" cy="4572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6" name="Oval 5"/>
              <p:cNvSpPr/>
              <p:nvPr/>
            </p:nvSpPr>
            <p:spPr>
              <a:xfrm>
                <a:off x="3987434" y="2168848"/>
                <a:ext cx="600501" cy="457200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7" name="Oval 6"/>
            <p:cNvSpPr/>
            <p:nvPr/>
          </p:nvSpPr>
          <p:spPr>
            <a:xfrm>
              <a:off x="5873099" y="1570621"/>
              <a:ext cx="600501" cy="4572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Oval 7"/>
            <p:cNvSpPr/>
            <p:nvPr/>
          </p:nvSpPr>
          <p:spPr>
            <a:xfrm>
              <a:off x="6951273" y="1342021"/>
              <a:ext cx="600501" cy="4572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3657600" y="2895600"/>
            <a:ext cx="50292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Bookman Old Style" panose="02050604050505020204" pitchFamily="18" charset="0"/>
              </a:rPr>
              <a:t>Sept-Oct. 2013 NEC conference with UNDP, Brazil</a:t>
            </a:r>
            <a:endParaRPr lang="en-US" sz="2400" b="1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9499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0"/>
                            </p:stCondLst>
                            <p:childTnLst>
                              <p:par>
                                <p:cTn id="9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7" y="5817745"/>
            <a:ext cx="2466975" cy="104775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0" y="1438417"/>
            <a:ext cx="914400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/>
              <a:t>See updated current information about </a:t>
            </a:r>
            <a:r>
              <a:rPr lang="en-US" sz="4000" b="1" dirty="0" smtClean="0">
                <a:solidFill>
                  <a:srgbClr val="CC6600"/>
                </a:solidFill>
              </a:rPr>
              <a:t>EvalPartners</a:t>
            </a:r>
            <a:r>
              <a:rPr lang="en-US" sz="4000" dirty="0" smtClean="0"/>
              <a:t> at:</a:t>
            </a:r>
            <a:endParaRPr lang="en-US" sz="3200" dirty="0" smtClean="0"/>
          </a:p>
          <a:p>
            <a:pPr algn="ctr"/>
            <a:endParaRPr lang="en-US" sz="3200" dirty="0"/>
          </a:p>
          <a:p>
            <a:pPr algn="ctr"/>
            <a:r>
              <a:rPr lang="en-US" sz="4000" b="1" dirty="0" smtClean="0">
                <a:hlinkClick r:id="rId4"/>
              </a:rPr>
              <a:t>www.MyMandE.org/EvalPartners</a:t>
            </a:r>
            <a:endParaRPr lang="en-US" sz="4400" b="1" dirty="0"/>
          </a:p>
        </p:txBody>
      </p:sp>
    </p:spTree>
    <p:extLst>
      <p:ext uri="{BB962C8B-B14F-4D97-AF65-F5344CB8AC3E}">
        <p14:creationId xmlns:p14="http://schemas.microsoft.com/office/powerpoint/2010/main" val="2511255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830" y="26988"/>
            <a:ext cx="8853596" cy="1143000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3200" b="1" dirty="0" smtClean="0">
                <a:solidFill>
                  <a:srgbClr val="CC6600"/>
                </a:solidFill>
                <a:ea typeface="Tahoma" pitchFamily="34" charset="0"/>
                <a:cs typeface="Tahoma" pitchFamily="34" charset="0"/>
              </a:rPr>
              <a:t>An international collaborative initiative with 29+ key partners and others still joining</a:t>
            </a:r>
            <a:endParaRPr lang="en-US" sz="3200" b="1" dirty="0">
              <a:solidFill>
                <a:srgbClr val="CC66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169988"/>
            <a:ext cx="9144000" cy="56811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 descr="The MasterCard Foundati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4738" y="4010585"/>
            <a:ext cx="1260662" cy="980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U.S. Agency for International Developmen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4619625"/>
            <a:ext cx="1800225" cy="56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6258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/>
        </p:nvGraphicFramePr>
        <p:xfrm>
          <a:off x="1524000" y="2590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667000" y="1143000"/>
            <a:ext cx="3200400" cy="707886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  <a:reflection blurRad="6350" stA="50000" endA="300" endPos="55500" dist="50800" dir="5400000" sy="-100000" algn="bl" rotWithShape="0"/>
            <a:softEdge rad="127000"/>
          </a:effectLst>
          <a:scene3d>
            <a:camera prst="perspectiveBelow"/>
            <a:lightRig rig="threePt" dir="t"/>
          </a:scene3d>
          <a:sp3d>
            <a:bevelT w="165100" prst="coolSlant"/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EvalPartners</a:t>
            </a:r>
            <a:endParaRPr lang="en-US" sz="4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Up Arrow 6"/>
          <p:cNvSpPr/>
          <p:nvPr/>
        </p:nvSpPr>
        <p:spPr>
          <a:xfrm>
            <a:off x="3200400" y="2438400"/>
            <a:ext cx="2514600" cy="457200"/>
          </a:xfrm>
          <a:prstGeom prst="up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 rot="19331542">
            <a:off x="54416" y="2195108"/>
            <a:ext cx="2267670" cy="954107"/>
          </a:xfrm>
          <a:prstGeom prst="rect">
            <a:avLst/>
          </a:prstGeom>
          <a:noFill/>
          <a:scene3d>
            <a:camera prst="isometricOffAxis1Right"/>
            <a:lightRig rig="soft" dir="tl">
              <a:rot lat="0" lon="0" rev="0"/>
            </a:lightRig>
          </a:scene3d>
          <a:sp3d>
            <a:bevelT prst="relaxedInset"/>
          </a:sp3d>
        </p:spPr>
        <p:txBody>
          <a:bodyPr wrap="square" rtlCol="0">
            <a:spAutoFit/>
            <a:scene3d>
              <a:camera prst="isometricOffAxis1Righ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sz="2800" b="1" spc="50" dirty="0" smtClean="0">
                <a:ln w="11430"/>
                <a:solidFill>
                  <a:srgbClr val="FF9900"/>
                </a:solidFill>
              </a:rPr>
              <a:t>Guiding Principles</a:t>
            </a:r>
            <a:endParaRPr lang="en-US" sz="2800" b="1" spc="50" dirty="0">
              <a:ln w="11430"/>
              <a:solidFill>
                <a:srgbClr val="FF99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506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667000" y="1143000"/>
            <a:ext cx="3200400" cy="707886"/>
          </a:xfrm>
          <a:prstGeom prst="rect">
            <a:avLst/>
          </a:prstGeom>
          <a:effectLst>
            <a:glow rad="228600">
              <a:schemeClr val="accent4">
                <a:satMod val="175000"/>
                <a:alpha val="40000"/>
              </a:schemeClr>
            </a:glow>
            <a:reflection blurRad="6350" stA="50000" endA="300" endPos="55500" dist="50800" dir="5400000" sy="-100000" algn="bl" rotWithShape="0"/>
            <a:softEdge rad="127000"/>
          </a:effectLst>
          <a:scene3d>
            <a:camera prst="perspectiveBelow"/>
            <a:lightRig rig="threePt" dir="t"/>
          </a:scene3d>
          <a:sp3d>
            <a:bevelT w="165100" prst="coolSlant"/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EvalPartners</a:t>
            </a:r>
            <a:endParaRPr lang="en-US" sz="4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Up Arrow 6"/>
          <p:cNvSpPr/>
          <p:nvPr/>
        </p:nvSpPr>
        <p:spPr>
          <a:xfrm>
            <a:off x="2971800" y="2438400"/>
            <a:ext cx="2514600" cy="457200"/>
          </a:xfrm>
          <a:prstGeom prst="up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 rot="21093967">
            <a:off x="-61483" y="2079083"/>
            <a:ext cx="2550634" cy="707886"/>
          </a:xfrm>
          <a:prstGeom prst="rect">
            <a:avLst/>
          </a:prstGeom>
          <a:noFill/>
          <a:scene3d>
            <a:camera prst="isometricOffAxis1Right"/>
            <a:lightRig rig="soft" dir="tl">
              <a:rot lat="0" lon="0" rev="0"/>
            </a:lightRig>
          </a:scene3d>
          <a:sp3d>
            <a:bevelT prst="relaxedInset"/>
          </a:sp3d>
        </p:spPr>
        <p:txBody>
          <a:bodyPr wrap="square" rtlCol="0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r>
              <a:rPr lang="en-US" sz="2000" b="1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</a:rPr>
              <a:t>GOVERNANCE Structure</a:t>
            </a:r>
            <a:endParaRPr lang="en-US" sz="2000" b="1" cap="all" dirty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</a:endParaRP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48982852"/>
              </p:ext>
            </p:extLst>
          </p:nvPr>
        </p:nvGraphicFramePr>
        <p:xfrm>
          <a:off x="1219200" y="2971800"/>
          <a:ext cx="6781800" cy="3352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8943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Graphic spid="8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2139" y="660400"/>
            <a:ext cx="8198893" cy="1470025"/>
          </a:xfrm>
        </p:spPr>
        <p:txBody>
          <a:bodyPr>
            <a:normAutofit/>
          </a:bodyPr>
          <a:lstStyle/>
          <a:p>
            <a:pPr algn="ctr"/>
            <a:r>
              <a:rPr lang="en-US" b="1" dirty="0" smtClean="0">
                <a:solidFill>
                  <a:srgbClr val="CC6600"/>
                </a:solidFill>
              </a:rPr>
              <a:t>Purpose of the EvalPartners Initiative </a:t>
            </a:r>
            <a:endParaRPr lang="en-US" b="1" dirty="0">
              <a:solidFill>
                <a:srgbClr val="CC66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7451" y="2270820"/>
            <a:ext cx="811700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/>
              <a:t>To promote collaboration among evaluation organizations (VOPEs) to strengthen Evaluation Capacity Development … including addressing the evaluation environment, i.e. policies, systems, demand for and use of evaluations.</a:t>
            </a:r>
            <a:endParaRPr lang="en-US" sz="3200" b="1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10250"/>
            <a:ext cx="2466975" cy="104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514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2139" y="152400"/>
            <a:ext cx="8198893" cy="1470025"/>
          </a:xfrm>
        </p:spPr>
        <p:txBody>
          <a:bodyPr>
            <a:normAutofit/>
          </a:bodyPr>
          <a:lstStyle/>
          <a:p>
            <a:r>
              <a:rPr lang="en-US" sz="5400" b="1" dirty="0" smtClean="0">
                <a:solidFill>
                  <a:srgbClr val="CC6600"/>
                </a:solidFill>
              </a:rPr>
              <a:t>What’s a VOPE?</a:t>
            </a:r>
            <a:endParaRPr lang="en-US" sz="5400" b="1" dirty="0">
              <a:solidFill>
                <a:srgbClr val="CC66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2270820"/>
            <a:ext cx="91440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</a:rPr>
              <a:t>Voluntary Organization for Professional Evaluation</a:t>
            </a:r>
            <a:r>
              <a:rPr lang="en-US" sz="2800" b="1" dirty="0" smtClean="0"/>
              <a:t> </a:t>
            </a:r>
          </a:p>
          <a:p>
            <a:pPr algn="ctr"/>
            <a:endParaRPr lang="en-US" sz="2800" b="1" dirty="0"/>
          </a:p>
          <a:p>
            <a:pPr algn="ctr"/>
            <a:r>
              <a:rPr lang="en-US" sz="2800" b="1" dirty="0" smtClean="0"/>
              <a:t>I.e. formal associations or societies; informal networks / communities of practice … open to a wide variety of members</a:t>
            </a:r>
            <a:endParaRPr lang="en-US" sz="2800" b="1" dirty="0"/>
          </a:p>
        </p:txBody>
      </p:sp>
      <p:pic>
        <p:nvPicPr>
          <p:cNvPr id="1026" name="Picture 2" descr="C:\Users\Jim Rugh\AppData\Local\Microsoft\Windows\Temporary Internet Files\Content.IE5\K1HHL54Y\MC900078711[1]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5844" y="1"/>
            <a:ext cx="1068156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76854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500"/>
                            </p:stCondLst>
                            <p:childTnLst>
                              <p:par>
                                <p:cTn id="1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3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utline-world-map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30054" cy="5982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464024" y="368482"/>
            <a:ext cx="8229600" cy="80863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en-US" sz="4400" b="1" dirty="0" smtClean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Mapping the status of VOPEs around the world</a:t>
            </a:r>
            <a:endParaRPr lang="en-US" sz="44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499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Urban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Urban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eorgia"/>
        <a:ea typeface=""/>
        <a:cs typeface=""/>
        <a:font script="Jpan" typeface="HG明朝B"/>
        <a:font script="Hang" typeface="맑은 고딕"/>
        <a:font script="Hans" typeface="宋体"/>
        <a:font script="Hant" typeface="新細明體"/>
        <a:font script="Arab" typeface="Arial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Urban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rban</Template>
  <TotalTime>2198</TotalTime>
  <Words>873</Words>
  <Application>Microsoft Office PowerPoint</Application>
  <PresentationFormat>Экран (4:3)</PresentationFormat>
  <Paragraphs>147</Paragraphs>
  <Slides>38</Slides>
  <Notes>9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8</vt:i4>
      </vt:variant>
    </vt:vector>
  </HeadingPairs>
  <TitlesOfParts>
    <vt:vector size="39" baseType="lpstr">
      <vt:lpstr>Urban</vt:lpstr>
      <vt:lpstr>The international Partnership Initiative to promote Evaluation Capacity Development</vt:lpstr>
      <vt:lpstr>EvalPartners: Why now?</vt:lpstr>
      <vt:lpstr>EvalPartners: What?</vt:lpstr>
      <vt:lpstr>An international collaborative initiative with 29+ key partners and others still joining</vt:lpstr>
      <vt:lpstr>Презентация PowerPoint</vt:lpstr>
      <vt:lpstr>Презентация PowerPoint</vt:lpstr>
      <vt:lpstr>Purpose of the EvalPartners Initiative </vt:lpstr>
      <vt:lpstr>What’s a VOPE?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Mapping the status of VOPEs</vt:lpstr>
      <vt:lpstr>That amazing growth of the evaluation profession is more succinctly summarized in the following bar graph …</vt:lpstr>
      <vt:lpstr>Презентация PowerPoint</vt:lpstr>
      <vt:lpstr>EvalPartners VOPE survey by the numbers</vt:lpstr>
      <vt:lpstr>Current membership numbers reported (including overlaps)(multiple memberships)</vt:lpstr>
      <vt:lpstr>How formally organized are these VOPEs?</vt:lpstr>
      <vt:lpstr>How VOPEs are addressing “the evaluation environment” in their countries</vt:lpstr>
      <vt:lpstr>How VOPEs are addressing “the evaluation environment” in their countries</vt:lpstr>
      <vt:lpstr>Peer-to-Peer (P2P) Program + Innovation Challenge grants</vt:lpstr>
      <vt:lpstr>Презентация PowerPoint</vt:lpstr>
      <vt:lpstr>Enabling Environment Taskforce</vt:lpstr>
      <vt:lpstr>Institutional Capacity Taskforce</vt:lpstr>
      <vt:lpstr>E-Learning Taskforce</vt:lpstr>
      <vt:lpstr>E-Learning courses offered by 33 world-level experts</vt:lpstr>
      <vt:lpstr>E-Learning Visitor Map</vt:lpstr>
      <vt:lpstr>Презентация PowerPoint</vt:lpstr>
      <vt:lpstr>Equity-Focused and Gender-Responsive Taskforce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OCE Presentation to UNEG, Date</dc:title>
  <dc:creator>Tessie Catsambas</dc:creator>
  <cp:lastModifiedBy>Наталья</cp:lastModifiedBy>
  <cp:revision>97</cp:revision>
  <dcterms:created xsi:type="dcterms:W3CDTF">2012-02-01T14:22:38Z</dcterms:created>
  <dcterms:modified xsi:type="dcterms:W3CDTF">2013-09-24T14:08:11Z</dcterms:modified>
</cp:coreProperties>
</file>